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  <p:sldMasterId id="2147483675" r:id="rId3"/>
  </p:sldMasterIdLst>
  <p:notesMasterIdLst>
    <p:notesMasterId r:id="rId29"/>
  </p:notesMasterIdLst>
  <p:handoutMasterIdLst>
    <p:handoutMasterId r:id="rId30"/>
  </p:handoutMasterIdLst>
  <p:sldIdLst>
    <p:sldId id="361" r:id="rId4"/>
    <p:sldId id="375" r:id="rId5"/>
    <p:sldId id="373" r:id="rId6"/>
    <p:sldId id="374" r:id="rId7"/>
    <p:sldId id="355" r:id="rId8"/>
    <p:sldId id="356" r:id="rId9"/>
    <p:sldId id="339" r:id="rId10"/>
    <p:sldId id="266" r:id="rId11"/>
    <p:sldId id="256" r:id="rId12"/>
    <p:sldId id="547" r:id="rId13"/>
    <p:sldId id="544" r:id="rId14"/>
    <p:sldId id="545" r:id="rId15"/>
    <p:sldId id="548" r:id="rId16"/>
    <p:sldId id="310" r:id="rId17"/>
    <p:sldId id="318" r:id="rId18"/>
    <p:sldId id="367" r:id="rId19"/>
    <p:sldId id="311" r:id="rId20"/>
    <p:sldId id="370" r:id="rId21"/>
    <p:sldId id="340" r:id="rId22"/>
    <p:sldId id="371" r:id="rId23"/>
    <p:sldId id="360" r:id="rId24"/>
    <p:sldId id="312" r:id="rId25"/>
    <p:sldId id="372" r:id="rId26"/>
    <p:sldId id="323" r:id="rId27"/>
    <p:sldId id="368" r:id="rId28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10" dt="2019-03-28T16:27:58.129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07" autoAdjust="0"/>
    <p:restoredTop sz="85994" autoAdjust="0"/>
  </p:normalViewPr>
  <p:slideViewPr>
    <p:cSldViewPr snapToObjects="1" showGuides="1">
      <p:cViewPr varScale="1">
        <p:scale>
          <a:sx n="94" d="100"/>
          <a:sy n="94" d="100"/>
        </p:scale>
        <p:origin x="1098" y="78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3-28T16:27:58.126" v="531"/>
      <pc:docMkLst>
        <pc:docMk/>
      </pc:docMkLst>
      <pc:sldChg chg="add del">
        <pc:chgData name="David Stevens" userId="73fe415a-d21a-4898-bfab-0e75d37181d7" providerId="ADAL" clId="{A55558DF-111D-4D77-9A1C-537E622CF8A6}" dt="2019-02-26T09:01:44.453" v="497"/>
        <pc:sldMkLst>
          <pc:docMk/>
          <pc:sldMk cId="3363243440" sldId="256"/>
        </pc:sldMkLst>
      </pc:sldChg>
      <pc:sldChg chg="add">
        <pc:chgData name="David Stevens" userId="73fe415a-d21a-4898-bfab-0e75d37181d7" providerId="ADAL" clId="{A55558DF-111D-4D77-9A1C-537E622CF8A6}" dt="2019-03-28T16:27:58.126" v="531"/>
        <pc:sldMkLst>
          <pc:docMk/>
          <pc:sldMk cId="46125138" sldId="266"/>
        </pc:sldMkLst>
      </pc:sldChg>
      <pc:sldChg chg="modSp">
        <pc:chgData name="David Stevens" userId="73fe415a-d21a-4898-bfab-0e75d37181d7" providerId="ADAL" clId="{A55558DF-111D-4D77-9A1C-537E622CF8A6}" dt="2019-03-28T16:15:26.467" v="530" actId="20577"/>
        <pc:sldMkLst>
          <pc:docMk/>
          <pc:sldMk cId="4154490227" sldId="339"/>
        </pc:sldMkLst>
        <pc:spChg chg="mod">
          <ac:chgData name="David Stevens" userId="73fe415a-d21a-4898-bfab-0e75d37181d7" providerId="ADAL" clId="{A55558DF-111D-4D77-9A1C-537E622CF8A6}" dt="2019-03-28T16:15:26.467" v="530" actId="20577"/>
          <ac:spMkLst>
            <pc:docMk/>
            <pc:sldMk cId="4154490227" sldId="339"/>
            <ac:spMk id="31" creationId="{C59E2360-291C-4D93-A678-D01351E9B6BD}"/>
          </ac:spMkLst>
        </pc:spChg>
      </pc:sldChg>
      <pc:sldChg chg="addSp delSp modSp">
        <pc:chgData name="David Stevens" userId="73fe415a-d21a-4898-bfab-0e75d37181d7" providerId="ADAL" clId="{A55558DF-111D-4D77-9A1C-537E622CF8A6}" dt="2019-01-11T14:19:52.945" v="324" actId="1076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addSp modSp">
        <pc:chgData name="David Stevens" userId="73fe415a-d21a-4898-bfab-0e75d37181d7" providerId="ADAL" clId="{A55558DF-111D-4D77-9A1C-537E622CF8A6}" dt="2019-01-02T07:39:15.337" v="31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  <pc:grpChg chg="add">
          <ac:chgData name="David Stevens" userId="73fe415a-d21a-4898-bfab-0e75d37181d7" providerId="ADAL" clId="{A55558DF-111D-4D77-9A1C-537E622CF8A6}" dt="2019-01-02T07:39:15.337" v="314"/>
          <ac:grpSpMkLst>
            <pc:docMk/>
            <pc:sldMk cId="2452756145" sldId="361"/>
            <ac:grpSpMk id="9" creationId="{1A4C4365-A03D-4DE7-B62D-6058EC35DBD2}"/>
          </ac:grpSpMkLst>
        </pc:grpChg>
      </pc:sldChg>
      <pc:sldChg chg="add">
        <pc:chgData name="David Stevens" userId="73fe415a-d21a-4898-bfab-0e75d37181d7" providerId="ADAL" clId="{A55558DF-111D-4D77-9A1C-537E622CF8A6}" dt="2019-03-13T12:29:57.815" v="498"/>
        <pc:sldMkLst>
          <pc:docMk/>
          <pc:sldMk cId="856955319" sldId="375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1549889398" sldId="544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1146029085" sldId="545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3280845262" sldId="547"/>
        </pc:sldMkLst>
      </pc:sldChg>
      <pc:sldChg chg="modSp add">
        <pc:chgData name="David Stevens" userId="73fe415a-d21a-4898-bfab-0e75d37181d7" providerId="ADAL" clId="{A55558DF-111D-4D77-9A1C-537E622CF8A6}" dt="2019-03-13T12:30:33.127" v="519" actId="20577"/>
        <pc:sldMkLst>
          <pc:docMk/>
          <pc:sldMk cId="2923113291" sldId="548"/>
        </pc:sldMkLst>
        <pc:spChg chg="mod">
          <ac:chgData name="David Stevens" userId="73fe415a-d21a-4898-bfab-0e75d37181d7" providerId="ADAL" clId="{A55558DF-111D-4D77-9A1C-537E622CF8A6}" dt="2019-03-13T12:30:33.127" v="519" actId="20577"/>
          <ac:spMkLst>
            <pc:docMk/>
            <pc:sldMk cId="2923113291" sldId="548"/>
            <ac:spMk id="2" creationId="{D8597831-4085-4FBB-ACC0-C425FE93B1A0}"/>
          </ac:spMkLst>
        </pc:s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3/28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3/2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pb/playbook/597635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digitalexplorer.dxc.com/pb/playbook/597055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67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XC Digital Story : </a:t>
            </a:r>
            <a:r>
              <a:rPr lang="en-GB" dirty="0">
                <a:hlinkClick r:id="rId3"/>
              </a:rPr>
              <a:t>https://digitalexplorer.dxc.com/pb/playbook/597635</a:t>
            </a:r>
            <a:endParaRPr lang="en-GB" dirty="0"/>
          </a:p>
          <a:p>
            <a:r>
              <a:rPr lang="en-GB" dirty="0"/>
              <a:t>DXC Industry Showcases : WIP</a:t>
            </a:r>
          </a:p>
          <a:p>
            <a:r>
              <a:rPr lang="en-GB" dirty="0"/>
              <a:t>DXC innovation flight plan : </a:t>
            </a:r>
            <a:r>
              <a:rPr lang="en-GB" dirty="0">
                <a:hlinkClick r:id="rId4"/>
              </a:rPr>
              <a:t>https://digitalexplorer.dxc.com/pb/playbook/597055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Connecting line (box) 0.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4974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March 28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28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28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28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March 28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March 28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March 28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46D9B5-EE5B-461D-8DD5-E780D6C437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5049" y="-1"/>
            <a:ext cx="11655352" cy="8229600"/>
          </a:xfrm>
          <a:prstGeom prst="rect">
            <a:avLst/>
          </a:prstGeom>
        </p:spPr>
      </p:pic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D00227A-FCE5-4C90-8598-4398E14BD07B}"/>
              </a:ext>
            </a:extLst>
          </p:cNvPr>
          <p:cNvSpPr>
            <a:spLocks noChangeAspect="1"/>
          </p:cNvSpPr>
          <p:nvPr userDrawn="1"/>
        </p:nvSpPr>
        <p:spPr bwMode="hidden">
          <a:xfrm>
            <a:off x="-1568" y="1"/>
            <a:ext cx="8303762" cy="8229600"/>
          </a:xfrm>
          <a:custGeom>
            <a:avLst/>
            <a:gdLst>
              <a:gd name="connsiteX0" fmla="*/ 0 w 13880700"/>
              <a:gd name="connsiteY0" fmla="*/ 0 h 13806941"/>
              <a:gd name="connsiteX1" fmla="*/ 6983768 w 13880700"/>
              <a:gd name="connsiteY1" fmla="*/ 0 h 13806941"/>
              <a:gd name="connsiteX2" fmla="*/ 13880700 w 13880700"/>
              <a:gd name="connsiteY2" fmla="*/ 6893251 h 13806941"/>
              <a:gd name="connsiteX3" fmla="*/ 6983768 w 13880700"/>
              <a:gd name="connsiteY3" fmla="*/ 13806941 h 13806941"/>
              <a:gd name="connsiteX4" fmla="*/ 0 w 13880700"/>
              <a:gd name="connsiteY4" fmla="*/ 13806941 h 13806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80700" h="13806941">
                <a:moveTo>
                  <a:pt x="0" y="0"/>
                </a:moveTo>
                <a:lnTo>
                  <a:pt x="6983768" y="0"/>
                </a:lnTo>
                <a:cubicBezTo>
                  <a:pt x="10806594" y="0"/>
                  <a:pt x="13880700" y="3045499"/>
                  <a:pt x="13880700" y="6893251"/>
                </a:cubicBezTo>
                <a:cubicBezTo>
                  <a:pt x="13880700" y="10758888"/>
                  <a:pt x="10806594" y="13806941"/>
                  <a:pt x="6983768" y="13806941"/>
                </a:cubicBezTo>
                <a:lnTo>
                  <a:pt x="0" y="13806941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680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074840"/>
            <a:ext cx="68580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session title her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824197"/>
            <a:ext cx="6858000" cy="662203"/>
          </a:xfrm>
        </p:spPr>
        <p:txBody>
          <a:bodyPr>
            <a:noAutofit/>
          </a:bodyPr>
          <a:lstStyle>
            <a:lvl1pPr marL="0" indent="0" algn="l">
              <a:spcBef>
                <a:spcPts val="120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nter speaker name here</a:t>
            </a:r>
          </a:p>
        </p:txBody>
      </p:sp>
      <p:sp>
        <p:nvSpPr>
          <p:cNvPr id="47" name="Freeform 9">
            <a:extLst>
              <a:ext uri="{FF2B5EF4-FFF2-40B4-BE49-F238E27FC236}">
                <a16:creationId xmlns:a16="http://schemas.microsoft.com/office/drawing/2014/main" id="{2A7B0FDF-BC58-414A-8AAC-3B176242203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 dirty="0"/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3DC4A21B-A3B7-4535-89AB-D180D8D5FD35}"/>
              </a:ext>
            </a:extLst>
          </p:cNvPr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3C352BD-2464-4B6E-9C77-D29B31BC99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6739333"/>
            <a:ext cx="3160262" cy="8976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6C9D15-3463-4931-AE12-2BCC2AEC3138}"/>
              </a:ext>
            </a:extLst>
          </p:cNvPr>
          <p:cNvSpPr txBox="1"/>
          <p:nvPr userDrawn="1"/>
        </p:nvSpPr>
        <p:spPr>
          <a:xfrm>
            <a:off x="667328" y="5739190"/>
            <a:ext cx="61121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echCom24 2019: Building Digital Muscle</a:t>
            </a:r>
          </a:p>
        </p:txBody>
      </p:sp>
    </p:spTree>
    <p:extLst>
      <p:ext uri="{BB962C8B-B14F-4D97-AF65-F5344CB8AC3E}">
        <p14:creationId xmlns:p14="http://schemas.microsoft.com/office/powerpoint/2010/main" val="305589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55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 b="0"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 b="0"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 b="0"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 b="0"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 b="0"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58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551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99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61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March 28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© 2018 DXC Technology Company. All rights reserved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384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314578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28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41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9760A60-B77A-4E3E-818A-8DC6893B6C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4630398" cy="8229599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268274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28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015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64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2531900" y="2726171"/>
            <a:ext cx="9566600" cy="2717182"/>
          </a:xfrm>
          <a:prstGeom prst="rect">
            <a:avLst/>
          </a:prstGeom>
        </p:spPr>
      </p:pic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610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March 28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28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70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>
          <p15:clr>
            <a:srgbClr val="F26B43"/>
          </p15:clr>
        </p15:guide>
        <p15:guide id="2" pos="4608">
          <p15:clr>
            <a:srgbClr val="F26B43"/>
          </p15:clr>
        </p15:guide>
        <p15:guide id="3" pos="432">
          <p15:clr>
            <a:srgbClr val="F26B43"/>
          </p15:clr>
        </p15:guide>
        <p15:guide id="4" pos="3024">
          <p15:clr>
            <a:srgbClr val="F26B43"/>
          </p15:clr>
        </p15:guide>
        <p15:guide id="5" pos="3312">
          <p15:clr>
            <a:srgbClr val="F26B43"/>
          </p15:clr>
        </p15:guide>
        <p15:guide id="6" pos="4464">
          <p15:clr>
            <a:srgbClr val="F26B43"/>
          </p15:clr>
        </p15:guide>
        <p15:guide id="7" pos="4752">
          <p15:clr>
            <a:srgbClr val="F26B43"/>
          </p15:clr>
        </p15:guide>
        <p15:guide id="8" pos="5904">
          <p15:clr>
            <a:srgbClr val="F26B43"/>
          </p15:clr>
        </p15:guide>
        <p15:guide id="9" pos="6192">
          <p15:clr>
            <a:srgbClr val="F26B43"/>
          </p15:clr>
        </p15:guide>
        <p15:guide id="10" pos="7488">
          <p15:clr>
            <a:srgbClr val="F26B43"/>
          </p15:clr>
        </p15:guide>
        <p15:guide id="11" pos="8784">
          <p15:clr>
            <a:srgbClr val="F26B43"/>
          </p15:clr>
        </p15:guide>
        <p15:guide id="12" orient="horz" pos="1296">
          <p15:clr>
            <a:srgbClr val="F26B43"/>
          </p15:clr>
        </p15:guide>
        <p15:guide id="13" orient="horz" pos="4522">
          <p15:clr>
            <a:srgbClr val="F26B43"/>
          </p15:clr>
        </p15:guide>
        <p15:guide id="14" orient="horz" pos="48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rndwiki.houston.entsvcs.net/confluence/pages/viewpage.action?pageId=1016169972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hyperlink" Target="https://dxc.facebook.com/groups/1944577162473453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rava.com/athletes/323624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hyperlink" Target="https://www.linkedin.com/in/david-stevens-3b499584/" TargetMode="Externa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www.instagram.com/englishsid/" TargetMode="External"/><Relationship Id="rId5" Type="http://schemas.openxmlformats.org/officeDocument/2006/relationships/image" Target="../media/image10.png"/><Relationship Id="rId10" Type="http://schemas.openxmlformats.org/officeDocument/2006/relationships/image" Target="../media/image13.png"/><Relationship Id="rId4" Type="http://schemas.openxmlformats.org/officeDocument/2006/relationships/hyperlink" Target="https://twitter.com/englishsid" TargetMode="External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pb/playbook/597635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digitalexplorer.dxc.com/dew/" TargetMode="External"/><Relationship Id="rId4" Type="http://schemas.openxmlformats.org/officeDocument/2006/relationships/hyperlink" Target="https://digitalexplorer.dxc.com/pb/playbook/597055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3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4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4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4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15923-C746-4E82-B559-C0FAB3571B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mo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3DA1E9-4048-4679-96EA-1B4AE794552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Workspa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Solutions</a:t>
            </a:r>
          </a:p>
        </p:txBody>
      </p:sp>
    </p:spTree>
    <p:extLst>
      <p:ext uri="{BB962C8B-B14F-4D97-AF65-F5344CB8AC3E}">
        <p14:creationId xmlns:p14="http://schemas.microsoft.com/office/powerpoint/2010/main" val="328084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D67CA2C4-35B1-4EC0-8B48-A2BCA4E6E63B}"/>
              </a:ext>
            </a:extLst>
          </p:cNvPr>
          <p:cNvSpPr/>
          <p:nvPr/>
        </p:nvSpPr>
        <p:spPr>
          <a:xfrm>
            <a:off x="246744" y="7257381"/>
            <a:ext cx="13904686" cy="8285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4A1FB9A-308A-4248-AB2F-A16FB7DF4F62}"/>
              </a:ext>
            </a:extLst>
          </p:cNvPr>
          <p:cNvSpPr/>
          <p:nvPr/>
        </p:nvSpPr>
        <p:spPr>
          <a:xfrm>
            <a:off x="1073478" y="1446242"/>
            <a:ext cx="6007509" cy="6007509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Freeform 50">
            <a:extLst>
              <a:ext uri="{FF2B5EF4-FFF2-40B4-BE49-F238E27FC236}">
                <a16:creationId xmlns:a16="http://schemas.microsoft.com/office/drawing/2014/main" id="{5DF33367-B1EC-4924-BD92-9C7B99B6D2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07166" y="6575646"/>
            <a:ext cx="715793" cy="656493"/>
          </a:xfrm>
          <a:custGeom>
            <a:avLst/>
            <a:gdLst>
              <a:gd name="T0" fmla="*/ 336 w 1152"/>
              <a:gd name="T1" fmla="*/ 336 h 1056"/>
              <a:gd name="T2" fmla="*/ 192 w 1152"/>
              <a:gd name="T3" fmla="*/ 480 h 1056"/>
              <a:gd name="T4" fmla="*/ 48 w 1152"/>
              <a:gd name="T5" fmla="*/ 336 h 1056"/>
              <a:gd name="T6" fmla="*/ 192 w 1152"/>
              <a:gd name="T7" fmla="*/ 192 h 1056"/>
              <a:gd name="T8" fmla="*/ 336 w 1152"/>
              <a:gd name="T9" fmla="*/ 336 h 1056"/>
              <a:gd name="T10" fmla="*/ 576 w 1152"/>
              <a:gd name="T11" fmla="*/ 0 h 1056"/>
              <a:gd name="T12" fmla="*/ 432 w 1152"/>
              <a:gd name="T13" fmla="*/ 144 h 1056"/>
              <a:gd name="T14" fmla="*/ 576 w 1152"/>
              <a:gd name="T15" fmla="*/ 288 h 1056"/>
              <a:gd name="T16" fmla="*/ 720 w 1152"/>
              <a:gd name="T17" fmla="*/ 144 h 1056"/>
              <a:gd name="T18" fmla="*/ 576 w 1152"/>
              <a:gd name="T19" fmla="*/ 0 h 1056"/>
              <a:gd name="T20" fmla="*/ 960 w 1152"/>
              <a:gd name="T21" fmla="*/ 192 h 1056"/>
              <a:gd name="T22" fmla="*/ 816 w 1152"/>
              <a:gd name="T23" fmla="*/ 336 h 1056"/>
              <a:gd name="T24" fmla="*/ 960 w 1152"/>
              <a:gd name="T25" fmla="*/ 480 h 1056"/>
              <a:gd name="T26" fmla="*/ 1104 w 1152"/>
              <a:gd name="T27" fmla="*/ 336 h 1056"/>
              <a:gd name="T28" fmla="*/ 960 w 1152"/>
              <a:gd name="T29" fmla="*/ 192 h 1056"/>
              <a:gd name="T30" fmla="*/ 960 w 1152"/>
              <a:gd name="T31" fmla="*/ 480 h 1056"/>
              <a:gd name="T32" fmla="*/ 768 w 1152"/>
              <a:gd name="T33" fmla="*/ 672 h 1056"/>
              <a:gd name="T34" fmla="*/ 768 w 1152"/>
              <a:gd name="T35" fmla="*/ 480 h 1056"/>
              <a:gd name="T36" fmla="*/ 576 w 1152"/>
              <a:gd name="T37" fmla="*/ 288 h 1056"/>
              <a:gd name="T38" fmla="*/ 384 w 1152"/>
              <a:gd name="T39" fmla="*/ 480 h 1056"/>
              <a:gd name="T40" fmla="*/ 384 w 1152"/>
              <a:gd name="T41" fmla="*/ 672 h 1056"/>
              <a:gd name="T42" fmla="*/ 192 w 1152"/>
              <a:gd name="T43" fmla="*/ 480 h 1056"/>
              <a:gd name="T44" fmla="*/ 0 w 1152"/>
              <a:gd name="T45" fmla="*/ 672 h 1056"/>
              <a:gd name="T46" fmla="*/ 0 w 1152"/>
              <a:gd name="T47" fmla="*/ 864 h 1056"/>
              <a:gd name="T48" fmla="*/ 1152 w 1152"/>
              <a:gd name="T49" fmla="*/ 864 h 1056"/>
              <a:gd name="T50" fmla="*/ 1152 w 1152"/>
              <a:gd name="T51" fmla="*/ 672 h 1056"/>
              <a:gd name="T52" fmla="*/ 960 w 1152"/>
              <a:gd name="T53" fmla="*/ 480 h 1056"/>
              <a:gd name="T54" fmla="*/ 1152 w 1152"/>
              <a:gd name="T55" fmla="*/ 960 h 1056"/>
              <a:gd name="T56" fmla="*/ 0 w 1152"/>
              <a:gd name="T57" fmla="*/ 960 h 1056"/>
              <a:gd name="T58" fmla="*/ 0 w 1152"/>
              <a:gd name="T59" fmla="*/ 1056 h 1056"/>
              <a:gd name="T60" fmla="*/ 1152 w 1152"/>
              <a:gd name="T61" fmla="*/ 1056 h 1056"/>
              <a:gd name="T62" fmla="*/ 1152 w 1152"/>
              <a:gd name="T63" fmla="*/ 960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52" h="1056">
                <a:moveTo>
                  <a:pt x="336" y="336"/>
                </a:moveTo>
                <a:cubicBezTo>
                  <a:pt x="336" y="416"/>
                  <a:pt x="272" y="480"/>
                  <a:pt x="192" y="480"/>
                </a:cubicBezTo>
                <a:cubicBezTo>
                  <a:pt x="112" y="480"/>
                  <a:pt x="48" y="416"/>
                  <a:pt x="48" y="336"/>
                </a:cubicBezTo>
                <a:cubicBezTo>
                  <a:pt x="48" y="256"/>
                  <a:pt x="112" y="192"/>
                  <a:pt x="192" y="192"/>
                </a:cubicBezTo>
                <a:cubicBezTo>
                  <a:pt x="272" y="192"/>
                  <a:pt x="336" y="256"/>
                  <a:pt x="336" y="336"/>
                </a:cubicBezTo>
                <a:close/>
                <a:moveTo>
                  <a:pt x="576" y="0"/>
                </a:moveTo>
                <a:cubicBezTo>
                  <a:pt x="496" y="0"/>
                  <a:pt x="432" y="64"/>
                  <a:pt x="432" y="144"/>
                </a:cubicBezTo>
                <a:cubicBezTo>
                  <a:pt x="432" y="224"/>
                  <a:pt x="496" y="288"/>
                  <a:pt x="576" y="288"/>
                </a:cubicBezTo>
                <a:cubicBezTo>
                  <a:pt x="656" y="288"/>
                  <a:pt x="720" y="224"/>
                  <a:pt x="720" y="144"/>
                </a:cubicBezTo>
                <a:cubicBezTo>
                  <a:pt x="720" y="64"/>
                  <a:pt x="656" y="0"/>
                  <a:pt x="576" y="0"/>
                </a:cubicBezTo>
                <a:close/>
                <a:moveTo>
                  <a:pt x="960" y="192"/>
                </a:moveTo>
                <a:cubicBezTo>
                  <a:pt x="880" y="192"/>
                  <a:pt x="816" y="256"/>
                  <a:pt x="816" y="336"/>
                </a:cubicBezTo>
                <a:cubicBezTo>
                  <a:pt x="816" y="416"/>
                  <a:pt x="880" y="480"/>
                  <a:pt x="960" y="480"/>
                </a:cubicBezTo>
                <a:cubicBezTo>
                  <a:pt x="1040" y="480"/>
                  <a:pt x="1104" y="416"/>
                  <a:pt x="1104" y="336"/>
                </a:cubicBezTo>
                <a:cubicBezTo>
                  <a:pt x="1104" y="256"/>
                  <a:pt x="1040" y="192"/>
                  <a:pt x="960" y="192"/>
                </a:cubicBezTo>
                <a:close/>
                <a:moveTo>
                  <a:pt x="960" y="480"/>
                </a:moveTo>
                <a:cubicBezTo>
                  <a:pt x="854" y="480"/>
                  <a:pt x="768" y="566"/>
                  <a:pt x="768" y="672"/>
                </a:cubicBezTo>
                <a:cubicBezTo>
                  <a:pt x="768" y="480"/>
                  <a:pt x="768" y="480"/>
                  <a:pt x="768" y="480"/>
                </a:cubicBezTo>
                <a:cubicBezTo>
                  <a:pt x="768" y="374"/>
                  <a:pt x="682" y="288"/>
                  <a:pt x="576" y="288"/>
                </a:cubicBezTo>
                <a:cubicBezTo>
                  <a:pt x="470" y="288"/>
                  <a:pt x="384" y="374"/>
                  <a:pt x="384" y="480"/>
                </a:cubicBezTo>
                <a:cubicBezTo>
                  <a:pt x="384" y="672"/>
                  <a:pt x="384" y="672"/>
                  <a:pt x="384" y="672"/>
                </a:cubicBezTo>
                <a:cubicBezTo>
                  <a:pt x="384" y="566"/>
                  <a:pt x="298" y="480"/>
                  <a:pt x="192" y="480"/>
                </a:cubicBezTo>
                <a:cubicBezTo>
                  <a:pt x="86" y="480"/>
                  <a:pt x="0" y="566"/>
                  <a:pt x="0" y="672"/>
                </a:cubicBezTo>
                <a:cubicBezTo>
                  <a:pt x="0" y="864"/>
                  <a:pt x="0" y="864"/>
                  <a:pt x="0" y="864"/>
                </a:cubicBezTo>
                <a:cubicBezTo>
                  <a:pt x="1152" y="864"/>
                  <a:pt x="1152" y="864"/>
                  <a:pt x="1152" y="864"/>
                </a:cubicBezTo>
                <a:cubicBezTo>
                  <a:pt x="1152" y="672"/>
                  <a:pt x="1152" y="672"/>
                  <a:pt x="1152" y="672"/>
                </a:cubicBezTo>
                <a:cubicBezTo>
                  <a:pt x="1152" y="566"/>
                  <a:pt x="1066" y="480"/>
                  <a:pt x="960" y="480"/>
                </a:cubicBezTo>
                <a:close/>
                <a:moveTo>
                  <a:pt x="1152" y="960"/>
                </a:moveTo>
                <a:cubicBezTo>
                  <a:pt x="0" y="960"/>
                  <a:pt x="0" y="960"/>
                  <a:pt x="0" y="960"/>
                </a:cubicBezTo>
                <a:cubicBezTo>
                  <a:pt x="0" y="1056"/>
                  <a:pt x="0" y="1056"/>
                  <a:pt x="0" y="1056"/>
                </a:cubicBezTo>
                <a:cubicBezTo>
                  <a:pt x="1152" y="1056"/>
                  <a:pt x="1152" y="1056"/>
                  <a:pt x="1152" y="1056"/>
                </a:cubicBezTo>
                <a:lnTo>
                  <a:pt x="1152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58B83C4-2DF2-4B92-9D1C-C6B348F50236}"/>
              </a:ext>
            </a:extLst>
          </p:cNvPr>
          <p:cNvSpPr/>
          <p:nvPr/>
        </p:nvSpPr>
        <p:spPr>
          <a:xfrm>
            <a:off x="7717252" y="1458828"/>
            <a:ext cx="6007509" cy="6007509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BB57C9-DB8C-466D-BD52-710BB702DB2C}"/>
              </a:ext>
            </a:extLst>
          </p:cNvPr>
          <p:cNvSpPr/>
          <p:nvPr/>
        </p:nvSpPr>
        <p:spPr>
          <a:xfrm>
            <a:off x="2512541" y="7496008"/>
            <a:ext cx="31293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400" i="1" dirty="0"/>
              <a:t>Community Detec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F06997-4A87-495A-9FC8-EF5CC7E3DA15}"/>
              </a:ext>
            </a:extLst>
          </p:cNvPr>
          <p:cNvSpPr/>
          <p:nvPr/>
        </p:nvSpPr>
        <p:spPr>
          <a:xfrm>
            <a:off x="8383379" y="7484118"/>
            <a:ext cx="46752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400" i="1" dirty="0"/>
              <a:t>Industry and Technology Insights</a:t>
            </a:r>
          </a:p>
        </p:txBody>
      </p:sp>
      <p:sp>
        <p:nvSpPr>
          <p:cNvPr id="20" name="Freeform 117">
            <a:extLst>
              <a:ext uri="{FF2B5EF4-FFF2-40B4-BE49-F238E27FC236}">
                <a16:creationId xmlns:a16="http://schemas.microsoft.com/office/drawing/2014/main" id="{3F29DE92-F8F6-4FE0-BDA0-0D234ABBAB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297782" y="6349485"/>
            <a:ext cx="846448" cy="931316"/>
          </a:xfrm>
          <a:custGeom>
            <a:avLst/>
            <a:gdLst>
              <a:gd name="T0" fmla="*/ 688 w 960"/>
              <a:gd name="T1" fmla="*/ 288 h 1056"/>
              <a:gd name="T2" fmla="*/ 756 w 960"/>
              <a:gd name="T3" fmla="*/ 356 h 1056"/>
              <a:gd name="T4" fmla="*/ 675 w 960"/>
              <a:gd name="T5" fmla="*/ 437 h 1056"/>
              <a:gd name="T6" fmla="*/ 811 w 960"/>
              <a:gd name="T7" fmla="*/ 573 h 1056"/>
              <a:gd name="T8" fmla="*/ 892 w 960"/>
              <a:gd name="T9" fmla="*/ 492 h 1056"/>
              <a:gd name="T10" fmla="*/ 960 w 960"/>
              <a:gd name="T11" fmla="*/ 560 h 1056"/>
              <a:gd name="T12" fmla="*/ 960 w 960"/>
              <a:gd name="T13" fmla="*/ 288 h 1056"/>
              <a:gd name="T14" fmla="*/ 688 w 960"/>
              <a:gd name="T15" fmla="*/ 288 h 1056"/>
              <a:gd name="T16" fmla="*/ 384 w 960"/>
              <a:gd name="T17" fmla="*/ 396 h 1056"/>
              <a:gd name="T18" fmla="*/ 480 w 960"/>
              <a:gd name="T19" fmla="*/ 384 h 1056"/>
              <a:gd name="T20" fmla="*/ 576 w 960"/>
              <a:gd name="T21" fmla="*/ 396 h 1056"/>
              <a:gd name="T22" fmla="*/ 576 w 960"/>
              <a:gd name="T23" fmla="*/ 192 h 1056"/>
              <a:gd name="T24" fmla="*/ 672 w 960"/>
              <a:gd name="T25" fmla="*/ 192 h 1056"/>
              <a:gd name="T26" fmla="*/ 480 w 960"/>
              <a:gd name="T27" fmla="*/ 0 h 1056"/>
              <a:gd name="T28" fmla="*/ 288 w 960"/>
              <a:gd name="T29" fmla="*/ 192 h 1056"/>
              <a:gd name="T30" fmla="*/ 384 w 960"/>
              <a:gd name="T31" fmla="*/ 192 h 1056"/>
              <a:gd name="T32" fmla="*/ 384 w 960"/>
              <a:gd name="T33" fmla="*/ 396 h 1056"/>
              <a:gd name="T34" fmla="*/ 285 w 960"/>
              <a:gd name="T35" fmla="*/ 437 h 1056"/>
              <a:gd name="T36" fmla="*/ 204 w 960"/>
              <a:gd name="T37" fmla="*/ 356 h 1056"/>
              <a:gd name="T38" fmla="*/ 272 w 960"/>
              <a:gd name="T39" fmla="*/ 288 h 1056"/>
              <a:gd name="T40" fmla="*/ 0 w 960"/>
              <a:gd name="T41" fmla="*/ 288 h 1056"/>
              <a:gd name="T42" fmla="*/ 0 w 960"/>
              <a:gd name="T43" fmla="*/ 560 h 1056"/>
              <a:gd name="T44" fmla="*/ 68 w 960"/>
              <a:gd name="T45" fmla="*/ 492 h 1056"/>
              <a:gd name="T46" fmla="*/ 149 w 960"/>
              <a:gd name="T47" fmla="*/ 573 h 1056"/>
              <a:gd name="T48" fmla="*/ 285 w 960"/>
              <a:gd name="T49" fmla="*/ 437 h 1056"/>
              <a:gd name="T50" fmla="*/ 728 w 960"/>
              <a:gd name="T51" fmla="*/ 622 h 1056"/>
              <a:gd name="T52" fmla="*/ 768 w 960"/>
              <a:gd name="T53" fmla="*/ 768 h 1056"/>
              <a:gd name="T54" fmla="*/ 480 w 960"/>
              <a:gd name="T55" fmla="*/ 1056 h 1056"/>
              <a:gd name="T56" fmla="*/ 192 w 960"/>
              <a:gd name="T57" fmla="*/ 768 h 1056"/>
              <a:gd name="T58" fmla="*/ 480 w 960"/>
              <a:gd name="T59" fmla="*/ 480 h 1056"/>
              <a:gd name="T60" fmla="*/ 480 w 960"/>
              <a:gd name="T61" fmla="*/ 768 h 1056"/>
              <a:gd name="T62" fmla="*/ 728 w 960"/>
              <a:gd name="T63" fmla="*/ 622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60" h="1056">
                <a:moveTo>
                  <a:pt x="688" y="288"/>
                </a:moveTo>
                <a:cubicBezTo>
                  <a:pt x="756" y="356"/>
                  <a:pt x="756" y="356"/>
                  <a:pt x="756" y="356"/>
                </a:cubicBezTo>
                <a:cubicBezTo>
                  <a:pt x="675" y="437"/>
                  <a:pt x="675" y="437"/>
                  <a:pt x="675" y="437"/>
                </a:cubicBezTo>
                <a:cubicBezTo>
                  <a:pt x="731" y="470"/>
                  <a:pt x="778" y="517"/>
                  <a:pt x="811" y="573"/>
                </a:cubicBezTo>
                <a:cubicBezTo>
                  <a:pt x="892" y="492"/>
                  <a:pt x="892" y="492"/>
                  <a:pt x="892" y="492"/>
                </a:cubicBezTo>
                <a:cubicBezTo>
                  <a:pt x="960" y="560"/>
                  <a:pt x="960" y="560"/>
                  <a:pt x="960" y="560"/>
                </a:cubicBezTo>
                <a:cubicBezTo>
                  <a:pt x="960" y="288"/>
                  <a:pt x="960" y="288"/>
                  <a:pt x="960" y="288"/>
                </a:cubicBezTo>
                <a:lnTo>
                  <a:pt x="688" y="288"/>
                </a:lnTo>
                <a:close/>
                <a:moveTo>
                  <a:pt x="384" y="396"/>
                </a:moveTo>
                <a:cubicBezTo>
                  <a:pt x="415" y="388"/>
                  <a:pt x="447" y="384"/>
                  <a:pt x="480" y="384"/>
                </a:cubicBezTo>
                <a:cubicBezTo>
                  <a:pt x="513" y="384"/>
                  <a:pt x="545" y="388"/>
                  <a:pt x="576" y="3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672" y="192"/>
                  <a:pt x="672" y="192"/>
                  <a:pt x="672" y="192"/>
                </a:cubicBezTo>
                <a:cubicBezTo>
                  <a:pt x="480" y="0"/>
                  <a:pt x="480" y="0"/>
                  <a:pt x="480" y="0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384" y="192"/>
                  <a:pt x="384" y="192"/>
                  <a:pt x="384" y="192"/>
                </a:cubicBezTo>
                <a:lnTo>
                  <a:pt x="384" y="396"/>
                </a:lnTo>
                <a:close/>
                <a:moveTo>
                  <a:pt x="285" y="437"/>
                </a:moveTo>
                <a:cubicBezTo>
                  <a:pt x="204" y="356"/>
                  <a:pt x="204" y="356"/>
                  <a:pt x="204" y="356"/>
                </a:cubicBezTo>
                <a:cubicBezTo>
                  <a:pt x="272" y="288"/>
                  <a:pt x="272" y="288"/>
                  <a:pt x="272" y="288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560"/>
                  <a:pt x="0" y="560"/>
                  <a:pt x="0" y="560"/>
                </a:cubicBezTo>
                <a:cubicBezTo>
                  <a:pt x="68" y="492"/>
                  <a:pt x="68" y="492"/>
                  <a:pt x="68" y="492"/>
                </a:cubicBezTo>
                <a:cubicBezTo>
                  <a:pt x="149" y="573"/>
                  <a:pt x="149" y="573"/>
                  <a:pt x="149" y="573"/>
                </a:cubicBezTo>
                <a:cubicBezTo>
                  <a:pt x="182" y="517"/>
                  <a:pt x="229" y="470"/>
                  <a:pt x="285" y="437"/>
                </a:cubicBezTo>
                <a:close/>
                <a:moveTo>
                  <a:pt x="728" y="622"/>
                </a:moveTo>
                <a:cubicBezTo>
                  <a:pt x="753" y="665"/>
                  <a:pt x="768" y="715"/>
                  <a:pt x="768" y="768"/>
                </a:cubicBezTo>
                <a:cubicBezTo>
                  <a:pt x="768" y="927"/>
                  <a:pt x="639" y="1056"/>
                  <a:pt x="480" y="1056"/>
                </a:cubicBezTo>
                <a:cubicBezTo>
                  <a:pt x="321" y="1056"/>
                  <a:pt x="192" y="927"/>
                  <a:pt x="192" y="768"/>
                </a:cubicBezTo>
                <a:cubicBezTo>
                  <a:pt x="192" y="609"/>
                  <a:pt x="321" y="480"/>
                  <a:pt x="480" y="480"/>
                </a:cubicBezTo>
                <a:cubicBezTo>
                  <a:pt x="480" y="768"/>
                  <a:pt x="480" y="768"/>
                  <a:pt x="480" y="768"/>
                </a:cubicBezTo>
                <a:lnTo>
                  <a:pt x="728" y="6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7BBD0741-1720-4E55-848D-26748FC67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’s in it for </a:t>
            </a:r>
            <a:r>
              <a:rPr lang="en-GB" u="sng" dirty="0"/>
              <a:t>us</a:t>
            </a:r>
            <a:r>
              <a:rPr lang="en-GB" dirty="0"/>
              <a:t>?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A9D9267-4293-4FE8-A796-26FF72D0DFE8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D43504C-2EC3-4EA2-8C0F-22B3DF75E734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52BF6D5-6140-4624-8DA6-70CC0D6AA36E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62C7F8B-E5FA-4F7A-8EB8-516482F3279D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29F61A1-A872-4BDB-A02F-A200748DBC4D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1170E01-3612-4428-8D6B-9529109A7000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C018598-A72F-40CA-B7F1-713B9AC99953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EAC1ED8-927E-4344-913F-7D03EE895389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BD16CE4-10D6-44C7-9603-9AC3BC9D38D0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55D43B5-7943-4777-9964-C1AA5FA901B0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CDD0591-53FD-41FA-8E14-A90956C57699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6591A5F-60F6-465E-84F4-4E424BA86AEA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B324BCB1-4CB2-42A9-B0D6-83D168E214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0AF677E-5F64-444B-83DE-BC56EC9C4A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6FD728AF-5BF0-4203-B008-0F0737BB70D8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9794A65-EE87-4222-A2FE-2C2A851242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D1FE63E-3CD8-4A94-BEEA-4AA764D5A3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8C086C30-9A01-4F64-A3AC-5FE0AE9F30A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9F4C60B-CEE4-4E01-A60B-9E0493F2EF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C529A00-7553-41A6-9389-501E3A04464A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CF9C51D-7EBF-44ED-96F4-F5EB5326156F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D76335C-DE6C-4998-B470-217D5B58BC3B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31D101E1-8D6A-4007-BA4C-12471A952A47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822433C-526B-4EF9-8F28-8CB9BC92FD5A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648CFE80-0E85-480F-9880-1925DDC1575D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3F8AD0E6-55D2-4016-A709-836D7EB4E46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C9E2394F-FCC1-4439-AA86-8169FC9DA208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6507375-6681-48E5-B164-3777991F42C6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0CAA1DB2-4BA3-4A4B-8E9E-5093603F763E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0965AC0-8206-4EAF-AD08-5F034401B4B4}"/>
              </a:ext>
            </a:extLst>
          </p:cNvPr>
          <p:cNvCxnSpPr/>
          <p:nvPr/>
        </p:nvCxnSpPr>
        <p:spPr>
          <a:xfrm flipV="1">
            <a:off x="2625213" y="3410672"/>
            <a:ext cx="383458" cy="1259536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83B3A8B-80F1-4377-8993-A11ADE8E3EE0}"/>
              </a:ext>
            </a:extLst>
          </p:cNvPr>
          <p:cNvCxnSpPr>
            <a:cxnSpLocks/>
          </p:cNvCxnSpPr>
          <p:nvPr/>
        </p:nvCxnSpPr>
        <p:spPr>
          <a:xfrm flipV="1">
            <a:off x="2512541" y="3563072"/>
            <a:ext cx="2926189" cy="1750916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2B40C27-4E6D-4A31-8ACC-34C4CA56D838}"/>
              </a:ext>
            </a:extLst>
          </p:cNvPr>
          <p:cNvCxnSpPr>
            <a:cxnSpLocks/>
          </p:cNvCxnSpPr>
          <p:nvPr/>
        </p:nvCxnSpPr>
        <p:spPr>
          <a:xfrm>
            <a:off x="2399869" y="5313988"/>
            <a:ext cx="3038861" cy="485571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4FED65D-9E96-4902-8C05-7A517B1D11F8}"/>
              </a:ext>
            </a:extLst>
          </p:cNvPr>
          <p:cNvCxnSpPr>
            <a:cxnSpLocks/>
          </p:cNvCxnSpPr>
          <p:nvPr/>
        </p:nvCxnSpPr>
        <p:spPr>
          <a:xfrm>
            <a:off x="3366157" y="2821858"/>
            <a:ext cx="2072573" cy="2977702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AED72E2-B90B-4AC7-B176-B2DC97F0C2D3}"/>
              </a:ext>
            </a:extLst>
          </p:cNvPr>
          <p:cNvCxnSpPr>
            <a:cxnSpLocks/>
          </p:cNvCxnSpPr>
          <p:nvPr/>
        </p:nvCxnSpPr>
        <p:spPr>
          <a:xfrm flipV="1">
            <a:off x="3280276" y="2344090"/>
            <a:ext cx="1426718" cy="56323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D04061-24CC-4403-A3E7-A3077CAFA3F8}"/>
              </a:ext>
            </a:extLst>
          </p:cNvPr>
          <p:cNvCxnSpPr>
            <a:cxnSpLocks/>
          </p:cNvCxnSpPr>
          <p:nvPr/>
        </p:nvCxnSpPr>
        <p:spPr>
          <a:xfrm flipV="1">
            <a:off x="1854283" y="2907327"/>
            <a:ext cx="1425993" cy="765810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23373F4-82FC-4F2F-B426-15B87D12EAD0}"/>
              </a:ext>
            </a:extLst>
          </p:cNvPr>
          <p:cNvCxnSpPr>
            <a:cxnSpLocks/>
          </p:cNvCxnSpPr>
          <p:nvPr/>
        </p:nvCxnSpPr>
        <p:spPr>
          <a:xfrm>
            <a:off x="5407886" y="3477385"/>
            <a:ext cx="700087" cy="1245958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6888D0EF-0741-47CF-903A-E12483AFD02D}"/>
              </a:ext>
            </a:extLst>
          </p:cNvPr>
          <p:cNvCxnSpPr>
            <a:cxnSpLocks/>
          </p:cNvCxnSpPr>
          <p:nvPr/>
        </p:nvCxnSpPr>
        <p:spPr>
          <a:xfrm flipV="1">
            <a:off x="5398856" y="4748585"/>
            <a:ext cx="782764" cy="107833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2E3CA0D4-79CB-4633-8226-6A4A08D15B7A}"/>
              </a:ext>
            </a:extLst>
          </p:cNvPr>
          <p:cNvCxnSpPr>
            <a:cxnSpLocks/>
          </p:cNvCxnSpPr>
          <p:nvPr/>
        </p:nvCxnSpPr>
        <p:spPr>
          <a:xfrm flipV="1">
            <a:off x="3650843" y="5841817"/>
            <a:ext cx="1757043" cy="494259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732A16A1-EA29-4125-B3C3-797C8FBC9408}"/>
              </a:ext>
            </a:extLst>
          </p:cNvPr>
          <p:cNvCxnSpPr>
            <a:cxnSpLocks/>
          </p:cNvCxnSpPr>
          <p:nvPr/>
        </p:nvCxnSpPr>
        <p:spPr>
          <a:xfrm flipV="1">
            <a:off x="3675535" y="5140415"/>
            <a:ext cx="460879" cy="118307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15705BB8-25BF-4F94-A07D-A9E4E22018E6}"/>
              </a:ext>
            </a:extLst>
          </p:cNvPr>
          <p:cNvCxnSpPr>
            <a:cxnSpLocks/>
          </p:cNvCxnSpPr>
          <p:nvPr/>
        </p:nvCxnSpPr>
        <p:spPr>
          <a:xfrm>
            <a:off x="5407886" y="3481015"/>
            <a:ext cx="0" cy="2369490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CC8329B2-6B32-4EE5-B6B0-5534958D9CF9}"/>
              </a:ext>
            </a:extLst>
          </p:cNvPr>
          <p:cNvSpPr/>
          <p:nvPr/>
        </p:nvSpPr>
        <p:spPr>
          <a:xfrm>
            <a:off x="4478446" y="2108345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DF900C95-AE94-49C0-96C9-73D8899A780B}"/>
              </a:ext>
            </a:extLst>
          </p:cNvPr>
          <p:cNvSpPr/>
          <p:nvPr/>
        </p:nvSpPr>
        <p:spPr>
          <a:xfrm>
            <a:off x="3435863" y="6063921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338B2E05-2A8D-4D50-8F52-AD704D790EF6}"/>
              </a:ext>
            </a:extLst>
          </p:cNvPr>
          <p:cNvSpPr/>
          <p:nvPr/>
        </p:nvSpPr>
        <p:spPr>
          <a:xfrm>
            <a:off x="3875331" y="4899004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ED83A14C-89FB-478D-B84E-FCB23D6309E3}"/>
              </a:ext>
            </a:extLst>
          </p:cNvPr>
          <p:cNvSpPr/>
          <p:nvPr/>
        </p:nvSpPr>
        <p:spPr>
          <a:xfrm>
            <a:off x="5908297" y="4452495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0E0D597-D1E2-4A59-833E-B3613962147A}"/>
              </a:ext>
            </a:extLst>
          </p:cNvPr>
          <p:cNvSpPr/>
          <p:nvPr/>
        </p:nvSpPr>
        <p:spPr>
          <a:xfrm>
            <a:off x="1617009" y="3410672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E79A0C8-64C2-4A2A-89CC-E060B8603B83}"/>
              </a:ext>
            </a:extLst>
          </p:cNvPr>
          <p:cNvGrpSpPr/>
          <p:nvPr/>
        </p:nvGrpSpPr>
        <p:grpSpPr>
          <a:xfrm>
            <a:off x="2391804" y="1980537"/>
            <a:ext cx="1787887" cy="1787887"/>
            <a:chOff x="3684371" y="4947218"/>
            <a:chExt cx="2105132" cy="210513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38B9DAC-EC74-4269-BC4F-D007A7469C4C}"/>
                </a:ext>
              </a:extLst>
            </p:cNvPr>
            <p:cNvSpPr/>
            <p:nvPr/>
          </p:nvSpPr>
          <p:spPr>
            <a:xfrm>
              <a:off x="3684371" y="4947218"/>
              <a:ext cx="2105132" cy="210513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>
                  <a:solidFill>
                    <a:schemeClr val="tx1"/>
                  </a:solidFill>
                </a:rPr>
                <a:t>Find Experts</a:t>
              </a:r>
            </a:p>
          </p:txBody>
        </p:sp>
        <p:sp>
          <p:nvSpPr>
            <p:cNvPr id="10" name="Freeform 85">
              <a:extLst>
                <a:ext uri="{FF2B5EF4-FFF2-40B4-BE49-F238E27FC236}">
                  <a16:creationId xmlns:a16="http://schemas.microsoft.com/office/drawing/2014/main" id="{2C065FE2-E007-49DE-8A00-E8EC535570B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31443" y="6506148"/>
              <a:ext cx="410987" cy="410836"/>
            </a:xfrm>
            <a:custGeom>
              <a:avLst/>
              <a:gdLst>
                <a:gd name="T0" fmla="*/ 816 w 1152"/>
                <a:gd name="T1" fmla="*/ 240 h 1152"/>
                <a:gd name="T2" fmla="*/ 720 w 1152"/>
                <a:gd name="T3" fmla="*/ 336 h 1152"/>
                <a:gd name="T4" fmla="*/ 816 w 1152"/>
                <a:gd name="T5" fmla="*/ 432 h 1152"/>
                <a:gd name="T6" fmla="*/ 912 w 1152"/>
                <a:gd name="T7" fmla="*/ 336 h 1152"/>
                <a:gd name="T8" fmla="*/ 816 w 1152"/>
                <a:gd name="T9" fmla="*/ 240 h 1152"/>
                <a:gd name="T10" fmla="*/ 1051 w 1152"/>
                <a:gd name="T11" fmla="*/ 384 h 1152"/>
                <a:gd name="T12" fmla="*/ 1016 w 1152"/>
                <a:gd name="T13" fmla="*/ 468 h 1152"/>
                <a:gd name="T14" fmla="*/ 1088 w 1152"/>
                <a:gd name="T15" fmla="*/ 540 h 1152"/>
                <a:gd name="T16" fmla="*/ 1020 w 1152"/>
                <a:gd name="T17" fmla="*/ 608 h 1152"/>
                <a:gd name="T18" fmla="*/ 948 w 1152"/>
                <a:gd name="T19" fmla="*/ 536 h 1152"/>
                <a:gd name="T20" fmla="*/ 864 w 1152"/>
                <a:gd name="T21" fmla="*/ 571 h 1152"/>
                <a:gd name="T22" fmla="*/ 864 w 1152"/>
                <a:gd name="T23" fmla="*/ 672 h 1152"/>
                <a:gd name="T24" fmla="*/ 768 w 1152"/>
                <a:gd name="T25" fmla="*/ 672 h 1152"/>
                <a:gd name="T26" fmla="*/ 768 w 1152"/>
                <a:gd name="T27" fmla="*/ 571 h 1152"/>
                <a:gd name="T28" fmla="*/ 684 w 1152"/>
                <a:gd name="T29" fmla="*/ 536 h 1152"/>
                <a:gd name="T30" fmla="*/ 612 w 1152"/>
                <a:gd name="T31" fmla="*/ 608 h 1152"/>
                <a:gd name="T32" fmla="*/ 544 w 1152"/>
                <a:gd name="T33" fmla="*/ 540 h 1152"/>
                <a:gd name="T34" fmla="*/ 616 w 1152"/>
                <a:gd name="T35" fmla="*/ 468 h 1152"/>
                <a:gd name="T36" fmla="*/ 581 w 1152"/>
                <a:gd name="T37" fmla="*/ 384 h 1152"/>
                <a:gd name="T38" fmla="*/ 480 w 1152"/>
                <a:gd name="T39" fmla="*/ 384 h 1152"/>
                <a:gd name="T40" fmla="*/ 480 w 1152"/>
                <a:gd name="T41" fmla="*/ 288 h 1152"/>
                <a:gd name="T42" fmla="*/ 581 w 1152"/>
                <a:gd name="T43" fmla="*/ 288 h 1152"/>
                <a:gd name="T44" fmla="*/ 616 w 1152"/>
                <a:gd name="T45" fmla="*/ 204 h 1152"/>
                <a:gd name="T46" fmla="*/ 544 w 1152"/>
                <a:gd name="T47" fmla="*/ 132 h 1152"/>
                <a:gd name="T48" fmla="*/ 612 w 1152"/>
                <a:gd name="T49" fmla="*/ 64 h 1152"/>
                <a:gd name="T50" fmla="*/ 684 w 1152"/>
                <a:gd name="T51" fmla="*/ 136 h 1152"/>
                <a:gd name="T52" fmla="*/ 768 w 1152"/>
                <a:gd name="T53" fmla="*/ 101 h 1152"/>
                <a:gd name="T54" fmla="*/ 768 w 1152"/>
                <a:gd name="T55" fmla="*/ 0 h 1152"/>
                <a:gd name="T56" fmla="*/ 864 w 1152"/>
                <a:gd name="T57" fmla="*/ 0 h 1152"/>
                <a:gd name="T58" fmla="*/ 864 w 1152"/>
                <a:gd name="T59" fmla="*/ 101 h 1152"/>
                <a:gd name="T60" fmla="*/ 948 w 1152"/>
                <a:gd name="T61" fmla="*/ 136 h 1152"/>
                <a:gd name="T62" fmla="*/ 1020 w 1152"/>
                <a:gd name="T63" fmla="*/ 64 h 1152"/>
                <a:gd name="T64" fmla="*/ 1088 w 1152"/>
                <a:gd name="T65" fmla="*/ 132 h 1152"/>
                <a:gd name="T66" fmla="*/ 1016 w 1152"/>
                <a:gd name="T67" fmla="*/ 204 h 1152"/>
                <a:gd name="T68" fmla="*/ 1051 w 1152"/>
                <a:gd name="T69" fmla="*/ 288 h 1152"/>
                <a:gd name="T70" fmla="*/ 1152 w 1152"/>
                <a:gd name="T71" fmla="*/ 288 h 1152"/>
                <a:gd name="T72" fmla="*/ 1152 w 1152"/>
                <a:gd name="T73" fmla="*/ 384 h 1152"/>
                <a:gd name="T74" fmla="*/ 1051 w 1152"/>
                <a:gd name="T75" fmla="*/ 384 h 1152"/>
                <a:gd name="T76" fmla="*/ 528 w 1152"/>
                <a:gd name="T77" fmla="*/ 576 h 1152"/>
                <a:gd name="T78" fmla="*/ 336 w 1152"/>
                <a:gd name="T79" fmla="*/ 768 h 1152"/>
                <a:gd name="T80" fmla="*/ 144 w 1152"/>
                <a:gd name="T81" fmla="*/ 576 h 1152"/>
                <a:gd name="T82" fmla="*/ 336 w 1152"/>
                <a:gd name="T83" fmla="*/ 384 h 1152"/>
                <a:gd name="T84" fmla="*/ 528 w 1152"/>
                <a:gd name="T85" fmla="*/ 576 h 1152"/>
                <a:gd name="T86" fmla="*/ 672 w 1152"/>
                <a:gd name="T87" fmla="*/ 1152 h 1152"/>
                <a:gd name="T88" fmla="*/ 0 w 1152"/>
                <a:gd name="T89" fmla="*/ 1152 h 1152"/>
                <a:gd name="T90" fmla="*/ 0 w 1152"/>
                <a:gd name="T91" fmla="*/ 1104 h 1152"/>
                <a:gd name="T92" fmla="*/ 336 w 1152"/>
                <a:gd name="T93" fmla="*/ 768 h 1152"/>
                <a:gd name="T94" fmla="*/ 672 w 1152"/>
                <a:gd name="T95" fmla="*/ 1104 h 1152"/>
                <a:gd name="T96" fmla="*/ 672 w 1152"/>
                <a:gd name="T97" fmla="*/ 115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52" h="1152">
                  <a:moveTo>
                    <a:pt x="816" y="240"/>
                  </a:moveTo>
                  <a:cubicBezTo>
                    <a:pt x="763" y="240"/>
                    <a:pt x="720" y="283"/>
                    <a:pt x="720" y="336"/>
                  </a:cubicBezTo>
                  <a:cubicBezTo>
                    <a:pt x="720" y="389"/>
                    <a:pt x="763" y="432"/>
                    <a:pt x="816" y="432"/>
                  </a:cubicBezTo>
                  <a:cubicBezTo>
                    <a:pt x="869" y="432"/>
                    <a:pt x="912" y="389"/>
                    <a:pt x="912" y="336"/>
                  </a:cubicBezTo>
                  <a:cubicBezTo>
                    <a:pt x="912" y="283"/>
                    <a:pt x="869" y="240"/>
                    <a:pt x="816" y="240"/>
                  </a:cubicBezTo>
                  <a:close/>
                  <a:moveTo>
                    <a:pt x="1051" y="384"/>
                  </a:moveTo>
                  <a:cubicBezTo>
                    <a:pt x="1045" y="415"/>
                    <a:pt x="1033" y="443"/>
                    <a:pt x="1016" y="468"/>
                  </a:cubicBezTo>
                  <a:cubicBezTo>
                    <a:pt x="1088" y="540"/>
                    <a:pt x="1088" y="540"/>
                    <a:pt x="1088" y="540"/>
                  </a:cubicBezTo>
                  <a:cubicBezTo>
                    <a:pt x="1020" y="608"/>
                    <a:pt x="1020" y="608"/>
                    <a:pt x="1020" y="608"/>
                  </a:cubicBezTo>
                  <a:cubicBezTo>
                    <a:pt x="948" y="536"/>
                    <a:pt x="948" y="536"/>
                    <a:pt x="948" y="536"/>
                  </a:cubicBezTo>
                  <a:cubicBezTo>
                    <a:pt x="923" y="553"/>
                    <a:pt x="895" y="565"/>
                    <a:pt x="864" y="571"/>
                  </a:cubicBezTo>
                  <a:cubicBezTo>
                    <a:pt x="864" y="672"/>
                    <a:pt x="864" y="672"/>
                    <a:pt x="864" y="672"/>
                  </a:cubicBezTo>
                  <a:cubicBezTo>
                    <a:pt x="768" y="672"/>
                    <a:pt x="768" y="672"/>
                    <a:pt x="768" y="672"/>
                  </a:cubicBezTo>
                  <a:cubicBezTo>
                    <a:pt x="768" y="571"/>
                    <a:pt x="768" y="571"/>
                    <a:pt x="768" y="571"/>
                  </a:cubicBezTo>
                  <a:cubicBezTo>
                    <a:pt x="737" y="565"/>
                    <a:pt x="709" y="553"/>
                    <a:pt x="684" y="536"/>
                  </a:cubicBezTo>
                  <a:cubicBezTo>
                    <a:pt x="612" y="608"/>
                    <a:pt x="612" y="608"/>
                    <a:pt x="612" y="608"/>
                  </a:cubicBezTo>
                  <a:cubicBezTo>
                    <a:pt x="544" y="540"/>
                    <a:pt x="544" y="540"/>
                    <a:pt x="544" y="540"/>
                  </a:cubicBezTo>
                  <a:cubicBezTo>
                    <a:pt x="616" y="468"/>
                    <a:pt x="616" y="468"/>
                    <a:pt x="616" y="468"/>
                  </a:cubicBezTo>
                  <a:cubicBezTo>
                    <a:pt x="599" y="443"/>
                    <a:pt x="587" y="415"/>
                    <a:pt x="581" y="384"/>
                  </a:cubicBezTo>
                  <a:cubicBezTo>
                    <a:pt x="480" y="384"/>
                    <a:pt x="480" y="384"/>
                    <a:pt x="480" y="384"/>
                  </a:cubicBezTo>
                  <a:cubicBezTo>
                    <a:pt x="480" y="288"/>
                    <a:pt x="480" y="288"/>
                    <a:pt x="480" y="288"/>
                  </a:cubicBezTo>
                  <a:cubicBezTo>
                    <a:pt x="581" y="288"/>
                    <a:pt x="581" y="288"/>
                    <a:pt x="581" y="288"/>
                  </a:cubicBezTo>
                  <a:cubicBezTo>
                    <a:pt x="587" y="257"/>
                    <a:pt x="599" y="229"/>
                    <a:pt x="616" y="204"/>
                  </a:cubicBezTo>
                  <a:cubicBezTo>
                    <a:pt x="544" y="132"/>
                    <a:pt x="544" y="132"/>
                    <a:pt x="544" y="132"/>
                  </a:cubicBezTo>
                  <a:cubicBezTo>
                    <a:pt x="612" y="64"/>
                    <a:pt x="612" y="64"/>
                    <a:pt x="612" y="64"/>
                  </a:cubicBezTo>
                  <a:cubicBezTo>
                    <a:pt x="684" y="136"/>
                    <a:pt x="684" y="136"/>
                    <a:pt x="684" y="136"/>
                  </a:cubicBezTo>
                  <a:cubicBezTo>
                    <a:pt x="709" y="119"/>
                    <a:pt x="737" y="107"/>
                    <a:pt x="768" y="101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864" y="0"/>
                    <a:pt x="864" y="0"/>
                    <a:pt x="864" y="0"/>
                  </a:cubicBezTo>
                  <a:cubicBezTo>
                    <a:pt x="864" y="101"/>
                    <a:pt x="864" y="101"/>
                    <a:pt x="864" y="101"/>
                  </a:cubicBezTo>
                  <a:cubicBezTo>
                    <a:pt x="895" y="107"/>
                    <a:pt x="923" y="119"/>
                    <a:pt x="948" y="136"/>
                  </a:cubicBezTo>
                  <a:cubicBezTo>
                    <a:pt x="1020" y="64"/>
                    <a:pt x="1020" y="64"/>
                    <a:pt x="1020" y="64"/>
                  </a:cubicBezTo>
                  <a:cubicBezTo>
                    <a:pt x="1088" y="132"/>
                    <a:pt x="1088" y="132"/>
                    <a:pt x="1088" y="132"/>
                  </a:cubicBezTo>
                  <a:cubicBezTo>
                    <a:pt x="1016" y="204"/>
                    <a:pt x="1016" y="204"/>
                    <a:pt x="1016" y="204"/>
                  </a:cubicBezTo>
                  <a:cubicBezTo>
                    <a:pt x="1033" y="229"/>
                    <a:pt x="1045" y="257"/>
                    <a:pt x="1051" y="288"/>
                  </a:cubicBezTo>
                  <a:cubicBezTo>
                    <a:pt x="1152" y="288"/>
                    <a:pt x="1152" y="288"/>
                    <a:pt x="1152" y="288"/>
                  </a:cubicBezTo>
                  <a:cubicBezTo>
                    <a:pt x="1152" y="384"/>
                    <a:pt x="1152" y="384"/>
                    <a:pt x="1152" y="384"/>
                  </a:cubicBezTo>
                  <a:lnTo>
                    <a:pt x="1051" y="384"/>
                  </a:lnTo>
                  <a:close/>
                  <a:moveTo>
                    <a:pt x="528" y="576"/>
                  </a:moveTo>
                  <a:cubicBezTo>
                    <a:pt x="528" y="682"/>
                    <a:pt x="442" y="768"/>
                    <a:pt x="336" y="768"/>
                  </a:cubicBezTo>
                  <a:cubicBezTo>
                    <a:pt x="230" y="768"/>
                    <a:pt x="144" y="682"/>
                    <a:pt x="144" y="576"/>
                  </a:cubicBezTo>
                  <a:cubicBezTo>
                    <a:pt x="144" y="470"/>
                    <a:pt x="230" y="384"/>
                    <a:pt x="336" y="384"/>
                  </a:cubicBezTo>
                  <a:cubicBezTo>
                    <a:pt x="442" y="384"/>
                    <a:pt x="528" y="470"/>
                    <a:pt x="528" y="576"/>
                  </a:cubicBezTo>
                  <a:close/>
                  <a:moveTo>
                    <a:pt x="672" y="1152"/>
                  </a:moveTo>
                  <a:cubicBezTo>
                    <a:pt x="0" y="1152"/>
                    <a:pt x="0" y="1152"/>
                    <a:pt x="0" y="1152"/>
                  </a:cubicBezTo>
                  <a:cubicBezTo>
                    <a:pt x="0" y="1104"/>
                    <a:pt x="0" y="1104"/>
                    <a:pt x="0" y="1104"/>
                  </a:cubicBezTo>
                  <a:cubicBezTo>
                    <a:pt x="0" y="918"/>
                    <a:pt x="150" y="768"/>
                    <a:pt x="336" y="768"/>
                  </a:cubicBezTo>
                  <a:cubicBezTo>
                    <a:pt x="522" y="768"/>
                    <a:pt x="672" y="918"/>
                    <a:pt x="672" y="1104"/>
                  </a:cubicBezTo>
                  <a:lnTo>
                    <a:pt x="672" y="115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5CCB2B1-F110-45D2-A5AD-168BB9D73A01}"/>
              </a:ext>
            </a:extLst>
          </p:cNvPr>
          <p:cNvGrpSpPr/>
          <p:nvPr/>
        </p:nvGrpSpPr>
        <p:grpSpPr>
          <a:xfrm>
            <a:off x="1539108" y="4209654"/>
            <a:ext cx="2105132" cy="2105132"/>
            <a:chOff x="1250565" y="3397430"/>
            <a:chExt cx="2105132" cy="2105132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BE1DDCE-2A99-4FB1-9724-32F6958645B7}"/>
                </a:ext>
              </a:extLst>
            </p:cNvPr>
            <p:cNvSpPr/>
            <p:nvPr/>
          </p:nvSpPr>
          <p:spPr>
            <a:xfrm>
              <a:off x="1250565" y="3397430"/>
              <a:ext cx="2105132" cy="2105132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dirty="0"/>
            </a:p>
          </p:txBody>
        </p:sp>
        <p:sp>
          <p:nvSpPr>
            <p:cNvPr id="15" name="Freeform 166">
              <a:extLst>
                <a:ext uri="{FF2B5EF4-FFF2-40B4-BE49-F238E27FC236}">
                  <a16:creationId xmlns:a16="http://schemas.microsoft.com/office/drawing/2014/main" id="{2F6B3888-7C83-4355-B817-2CC62574C5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3745" y="4834511"/>
              <a:ext cx="382701" cy="458888"/>
            </a:xfrm>
            <a:custGeom>
              <a:avLst/>
              <a:gdLst>
                <a:gd name="T0" fmla="*/ 192 w 960"/>
                <a:gd name="T1" fmla="*/ 480 h 1152"/>
                <a:gd name="T2" fmla="*/ 480 w 960"/>
                <a:gd name="T3" fmla="*/ 480 h 1152"/>
                <a:gd name="T4" fmla="*/ 480 w 960"/>
                <a:gd name="T5" fmla="*/ 576 h 1152"/>
                <a:gd name="T6" fmla="*/ 192 w 960"/>
                <a:gd name="T7" fmla="*/ 576 h 1152"/>
                <a:gd name="T8" fmla="*/ 192 w 960"/>
                <a:gd name="T9" fmla="*/ 480 h 1152"/>
                <a:gd name="T10" fmla="*/ 723 w 960"/>
                <a:gd name="T11" fmla="*/ 413 h 1152"/>
                <a:gd name="T12" fmla="*/ 675 w 960"/>
                <a:gd name="T13" fmla="*/ 460 h 1152"/>
                <a:gd name="T14" fmla="*/ 628 w 960"/>
                <a:gd name="T15" fmla="*/ 413 h 1152"/>
                <a:gd name="T16" fmla="*/ 560 w 960"/>
                <a:gd name="T17" fmla="*/ 481 h 1152"/>
                <a:gd name="T18" fmla="*/ 608 w 960"/>
                <a:gd name="T19" fmla="*/ 528 h 1152"/>
                <a:gd name="T20" fmla="*/ 560 w 960"/>
                <a:gd name="T21" fmla="*/ 576 h 1152"/>
                <a:gd name="T22" fmla="*/ 628 w 960"/>
                <a:gd name="T23" fmla="*/ 643 h 1152"/>
                <a:gd name="T24" fmla="*/ 675 w 960"/>
                <a:gd name="T25" fmla="*/ 596 h 1152"/>
                <a:gd name="T26" fmla="*/ 723 w 960"/>
                <a:gd name="T27" fmla="*/ 644 h 1152"/>
                <a:gd name="T28" fmla="*/ 791 w 960"/>
                <a:gd name="T29" fmla="*/ 576 h 1152"/>
                <a:gd name="T30" fmla="*/ 743 w 960"/>
                <a:gd name="T31" fmla="*/ 528 h 1152"/>
                <a:gd name="T32" fmla="*/ 791 w 960"/>
                <a:gd name="T33" fmla="*/ 480 h 1152"/>
                <a:gd name="T34" fmla="*/ 723 w 960"/>
                <a:gd name="T35" fmla="*/ 413 h 1152"/>
                <a:gd name="T36" fmla="*/ 661 w 960"/>
                <a:gd name="T37" fmla="*/ 795 h 1152"/>
                <a:gd name="T38" fmla="*/ 613 w 960"/>
                <a:gd name="T39" fmla="*/ 748 h 1152"/>
                <a:gd name="T40" fmla="*/ 546 w 960"/>
                <a:gd name="T41" fmla="*/ 816 h 1152"/>
                <a:gd name="T42" fmla="*/ 661 w 960"/>
                <a:gd name="T43" fmla="*/ 931 h 1152"/>
                <a:gd name="T44" fmla="*/ 824 w 960"/>
                <a:gd name="T45" fmla="*/ 768 h 1152"/>
                <a:gd name="T46" fmla="*/ 756 w 960"/>
                <a:gd name="T47" fmla="*/ 700 h 1152"/>
                <a:gd name="T48" fmla="*/ 661 w 960"/>
                <a:gd name="T49" fmla="*/ 795 h 1152"/>
                <a:gd name="T50" fmla="*/ 192 w 960"/>
                <a:gd name="T51" fmla="*/ 864 h 1152"/>
                <a:gd name="T52" fmla="*/ 480 w 960"/>
                <a:gd name="T53" fmla="*/ 864 h 1152"/>
                <a:gd name="T54" fmla="*/ 480 w 960"/>
                <a:gd name="T55" fmla="*/ 768 h 1152"/>
                <a:gd name="T56" fmla="*/ 192 w 960"/>
                <a:gd name="T57" fmla="*/ 768 h 1152"/>
                <a:gd name="T58" fmla="*/ 192 w 960"/>
                <a:gd name="T59" fmla="*/ 864 h 1152"/>
                <a:gd name="T60" fmla="*/ 960 w 960"/>
                <a:gd name="T61" fmla="*/ 96 h 1152"/>
                <a:gd name="T62" fmla="*/ 960 w 960"/>
                <a:gd name="T63" fmla="*/ 1152 h 1152"/>
                <a:gd name="T64" fmla="*/ 0 w 960"/>
                <a:gd name="T65" fmla="*/ 1152 h 1152"/>
                <a:gd name="T66" fmla="*/ 0 w 960"/>
                <a:gd name="T67" fmla="*/ 96 h 1152"/>
                <a:gd name="T68" fmla="*/ 192 w 960"/>
                <a:gd name="T69" fmla="*/ 96 h 1152"/>
                <a:gd name="T70" fmla="*/ 288 w 960"/>
                <a:gd name="T71" fmla="*/ 0 h 1152"/>
                <a:gd name="T72" fmla="*/ 672 w 960"/>
                <a:gd name="T73" fmla="*/ 0 h 1152"/>
                <a:gd name="T74" fmla="*/ 768 w 960"/>
                <a:gd name="T75" fmla="*/ 96 h 1152"/>
                <a:gd name="T76" fmla="*/ 960 w 960"/>
                <a:gd name="T77" fmla="*/ 96 h 1152"/>
                <a:gd name="T78" fmla="*/ 436 w 960"/>
                <a:gd name="T79" fmla="*/ 96 h 1152"/>
                <a:gd name="T80" fmla="*/ 484 w 960"/>
                <a:gd name="T81" fmla="*/ 144 h 1152"/>
                <a:gd name="T82" fmla="*/ 532 w 960"/>
                <a:gd name="T83" fmla="*/ 96 h 1152"/>
                <a:gd name="T84" fmla="*/ 484 w 960"/>
                <a:gd name="T85" fmla="*/ 48 h 1152"/>
                <a:gd name="T86" fmla="*/ 436 w 960"/>
                <a:gd name="T87" fmla="*/ 96 h 1152"/>
                <a:gd name="T88" fmla="*/ 864 w 960"/>
                <a:gd name="T89" fmla="*/ 192 h 1152"/>
                <a:gd name="T90" fmla="*/ 768 w 960"/>
                <a:gd name="T91" fmla="*/ 192 h 1152"/>
                <a:gd name="T92" fmla="*/ 768 w 960"/>
                <a:gd name="T93" fmla="*/ 288 h 1152"/>
                <a:gd name="T94" fmla="*/ 192 w 960"/>
                <a:gd name="T95" fmla="*/ 288 h 1152"/>
                <a:gd name="T96" fmla="*/ 192 w 960"/>
                <a:gd name="T97" fmla="*/ 192 h 1152"/>
                <a:gd name="T98" fmla="*/ 96 w 960"/>
                <a:gd name="T99" fmla="*/ 192 h 1152"/>
                <a:gd name="T100" fmla="*/ 96 w 960"/>
                <a:gd name="T101" fmla="*/ 1056 h 1152"/>
                <a:gd name="T102" fmla="*/ 864 w 960"/>
                <a:gd name="T103" fmla="*/ 1056 h 1152"/>
                <a:gd name="T104" fmla="*/ 864 w 960"/>
                <a:gd name="T105" fmla="*/ 19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0" h="1152">
                  <a:moveTo>
                    <a:pt x="192" y="480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480" y="576"/>
                    <a:pt x="480" y="576"/>
                    <a:pt x="480" y="576"/>
                  </a:cubicBezTo>
                  <a:cubicBezTo>
                    <a:pt x="192" y="576"/>
                    <a:pt x="192" y="576"/>
                    <a:pt x="192" y="576"/>
                  </a:cubicBezTo>
                  <a:lnTo>
                    <a:pt x="192" y="480"/>
                  </a:lnTo>
                  <a:close/>
                  <a:moveTo>
                    <a:pt x="723" y="413"/>
                  </a:moveTo>
                  <a:cubicBezTo>
                    <a:pt x="675" y="460"/>
                    <a:pt x="675" y="460"/>
                    <a:pt x="675" y="460"/>
                  </a:cubicBezTo>
                  <a:cubicBezTo>
                    <a:pt x="628" y="413"/>
                    <a:pt x="628" y="413"/>
                    <a:pt x="628" y="413"/>
                  </a:cubicBezTo>
                  <a:cubicBezTo>
                    <a:pt x="560" y="481"/>
                    <a:pt x="560" y="481"/>
                    <a:pt x="560" y="481"/>
                  </a:cubicBezTo>
                  <a:cubicBezTo>
                    <a:pt x="608" y="528"/>
                    <a:pt x="608" y="528"/>
                    <a:pt x="608" y="528"/>
                  </a:cubicBezTo>
                  <a:cubicBezTo>
                    <a:pt x="560" y="576"/>
                    <a:pt x="560" y="576"/>
                    <a:pt x="560" y="576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75" y="596"/>
                    <a:pt x="675" y="596"/>
                    <a:pt x="675" y="596"/>
                  </a:cubicBezTo>
                  <a:cubicBezTo>
                    <a:pt x="723" y="644"/>
                    <a:pt x="723" y="644"/>
                    <a:pt x="723" y="644"/>
                  </a:cubicBezTo>
                  <a:cubicBezTo>
                    <a:pt x="791" y="576"/>
                    <a:pt x="791" y="576"/>
                    <a:pt x="791" y="576"/>
                  </a:cubicBezTo>
                  <a:cubicBezTo>
                    <a:pt x="743" y="528"/>
                    <a:pt x="743" y="528"/>
                    <a:pt x="743" y="528"/>
                  </a:cubicBezTo>
                  <a:cubicBezTo>
                    <a:pt x="791" y="480"/>
                    <a:pt x="791" y="480"/>
                    <a:pt x="791" y="480"/>
                  </a:cubicBezTo>
                  <a:lnTo>
                    <a:pt x="723" y="413"/>
                  </a:lnTo>
                  <a:close/>
                  <a:moveTo>
                    <a:pt x="661" y="795"/>
                  </a:moveTo>
                  <a:cubicBezTo>
                    <a:pt x="613" y="748"/>
                    <a:pt x="613" y="748"/>
                    <a:pt x="613" y="748"/>
                  </a:cubicBezTo>
                  <a:cubicBezTo>
                    <a:pt x="546" y="816"/>
                    <a:pt x="546" y="816"/>
                    <a:pt x="546" y="816"/>
                  </a:cubicBezTo>
                  <a:cubicBezTo>
                    <a:pt x="661" y="931"/>
                    <a:pt x="661" y="931"/>
                    <a:pt x="661" y="931"/>
                  </a:cubicBezTo>
                  <a:cubicBezTo>
                    <a:pt x="824" y="768"/>
                    <a:pt x="824" y="768"/>
                    <a:pt x="824" y="768"/>
                  </a:cubicBezTo>
                  <a:cubicBezTo>
                    <a:pt x="756" y="700"/>
                    <a:pt x="756" y="700"/>
                    <a:pt x="756" y="700"/>
                  </a:cubicBezTo>
                  <a:lnTo>
                    <a:pt x="661" y="795"/>
                  </a:lnTo>
                  <a:close/>
                  <a:moveTo>
                    <a:pt x="192" y="864"/>
                  </a:moveTo>
                  <a:cubicBezTo>
                    <a:pt x="480" y="864"/>
                    <a:pt x="480" y="864"/>
                    <a:pt x="480" y="864"/>
                  </a:cubicBezTo>
                  <a:cubicBezTo>
                    <a:pt x="480" y="768"/>
                    <a:pt x="480" y="768"/>
                    <a:pt x="480" y="768"/>
                  </a:cubicBezTo>
                  <a:cubicBezTo>
                    <a:pt x="192" y="768"/>
                    <a:pt x="192" y="768"/>
                    <a:pt x="192" y="768"/>
                  </a:cubicBezTo>
                  <a:lnTo>
                    <a:pt x="192" y="864"/>
                  </a:lnTo>
                  <a:close/>
                  <a:moveTo>
                    <a:pt x="960" y="96"/>
                  </a:moveTo>
                  <a:cubicBezTo>
                    <a:pt x="960" y="1152"/>
                    <a:pt x="960" y="1152"/>
                    <a:pt x="960" y="1152"/>
                  </a:cubicBezTo>
                  <a:cubicBezTo>
                    <a:pt x="0" y="1152"/>
                    <a:pt x="0" y="1152"/>
                    <a:pt x="0" y="115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92" y="43"/>
                    <a:pt x="235" y="0"/>
                    <a:pt x="288" y="0"/>
                  </a:cubicBezTo>
                  <a:cubicBezTo>
                    <a:pt x="672" y="0"/>
                    <a:pt x="672" y="0"/>
                    <a:pt x="672" y="0"/>
                  </a:cubicBezTo>
                  <a:cubicBezTo>
                    <a:pt x="725" y="0"/>
                    <a:pt x="768" y="43"/>
                    <a:pt x="768" y="96"/>
                  </a:cubicBezTo>
                  <a:lnTo>
                    <a:pt x="960" y="96"/>
                  </a:lnTo>
                  <a:close/>
                  <a:moveTo>
                    <a:pt x="436" y="96"/>
                  </a:moveTo>
                  <a:cubicBezTo>
                    <a:pt x="436" y="123"/>
                    <a:pt x="457" y="144"/>
                    <a:pt x="484" y="144"/>
                  </a:cubicBezTo>
                  <a:cubicBezTo>
                    <a:pt x="511" y="144"/>
                    <a:pt x="532" y="123"/>
                    <a:pt x="532" y="96"/>
                  </a:cubicBezTo>
                  <a:cubicBezTo>
                    <a:pt x="532" y="69"/>
                    <a:pt x="511" y="48"/>
                    <a:pt x="484" y="48"/>
                  </a:cubicBezTo>
                  <a:cubicBezTo>
                    <a:pt x="457" y="48"/>
                    <a:pt x="436" y="69"/>
                    <a:pt x="436" y="96"/>
                  </a:cubicBezTo>
                  <a:close/>
                  <a:moveTo>
                    <a:pt x="864" y="192"/>
                  </a:moveTo>
                  <a:cubicBezTo>
                    <a:pt x="768" y="192"/>
                    <a:pt x="768" y="192"/>
                    <a:pt x="768" y="192"/>
                  </a:cubicBezTo>
                  <a:cubicBezTo>
                    <a:pt x="768" y="288"/>
                    <a:pt x="768" y="288"/>
                    <a:pt x="768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6" y="1056"/>
                    <a:pt x="96" y="1056"/>
                    <a:pt x="96" y="1056"/>
                  </a:cubicBezTo>
                  <a:cubicBezTo>
                    <a:pt x="864" y="1056"/>
                    <a:pt x="864" y="1056"/>
                    <a:pt x="864" y="1056"/>
                  </a:cubicBezTo>
                  <a:lnTo>
                    <a:pt x="864" y="1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B6F4A8E-30E9-43B1-99FD-C75CD71F06FC}"/>
                </a:ext>
              </a:extLst>
            </p:cNvPr>
            <p:cNvSpPr/>
            <p:nvPr/>
          </p:nvSpPr>
          <p:spPr>
            <a:xfrm>
              <a:off x="1293881" y="4139418"/>
              <a:ext cx="2018501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800" dirty="0">
                  <a:solidFill>
                    <a:schemeClr val="bg1"/>
                  </a:solidFill>
                </a:rPr>
                <a:t>Realtime</a:t>
              </a:r>
              <a:br>
                <a:rPr lang="en-GB" sz="1800" dirty="0">
                  <a:solidFill>
                    <a:schemeClr val="bg1"/>
                  </a:solidFill>
                </a:rPr>
              </a:br>
              <a:r>
                <a:rPr lang="en-GB" sz="1800" dirty="0">
                  <a:solidFill>
                    <a:schemeClr val="bg1"/>
                  </a:solidFill>
                </a:rPr>
                <a:t>recommendations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F419986-B944-41B8-A127-F25F6D08068E}"/>
              </a:ext>
            </a:extLst>
          </p:cNvPr>
          <p:cNvGrpSpPr/>
          <p:nvPr/>
        </p:nvGrpSpPr>
        <p:grpSpPr>
          <a:xfrm>
            <a:off x="4544786" y="4932977"/>
            <a:ext cx="1787887" cy="1787887"/>
            <a:chOff x="4947350" y="3940567"/>
            <a:chExt cx="1787887" cy="1787887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40A4E75-FD3D-4D14-B9D9-4F59CC282EAE}"/>
                </a:ext>
              </a:extLst>
            </p:cNvPr>
            <p:cNvSpPr/>
            <p:nvPr/>
          </p:nvSpPr>
          <p:spPr>
            <a:xfrm>
              <a:off x="4947350" y="3940567"/>
              <a:ext cx="1787887" cy="178788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dirty="0">
                  <a:solidFill>
                    <a:schemeClr val="tx1"/>
                  </a:solidFill>
                </a:rPr>
                <a:t>Discover</a:t>
              </a:r>
              <a:br>
                <a:rPr lang="en-GB" sz="2000" dirty="0">
                  <a:solidFill>
                    <a:schemeClr val="tx1"/>
                  </a:solidFill>
                </a:rPr>
              </a:br>
              <a:r>
                <a:rPr lang="en-GB" sz="2000" dirty="0">
                  <a:solidFill>
                    <a:schemeClr val="tx1"/>
                  </a:solidFill>
                </a:rPr>
                <a:t>Solution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0A828BD6-848E-468A-BF67-6130C2188846}"/>
                </a:ext>
              </a:extLst>
            </p:cNvPr>
            <p:cNvGrpSpPr/>
            <p:nvPr/>
          </p:nvGrpSpPr>
          <p:grpSpPr>
            <a:xfrm>
              <a:off x="5635712" y="5190579"/>
              <a:ext cx="411163" cy="411957"/>
              <a:chOff x="12825440" y="48105692"/>
              <a:chExt cx="822326" cy="823913"/>
            </a:xfrm>
            <a:solidFill>
              <a:schemeClr val="tx1"/>
            </a:solidFill>
          </p:grpSpPr>
          <p:sp>
            <p:nvSpPr>
              <p:cNvPr id="79" name="Rectangle 90">
                <a:extLst>
                  <a:ext uri="{FF2B5EF4-FFF2-40B4-BE49-F238E27FC236}">
                    <a16:creationId xmlns:a16="http://schemas.microsoft.com/office/drawing/2014/main" id="{B1CC27C7-0026-4A55-A9C7-59243CC222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36603" y="48518442"/>
                <a:ext cx="411163" cy="411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91">
                <a:extLst>
                  <a:ext uri="{FF2B5EF4-FFF2-40B4-BE49-F238E27FC236}">
                    <a16:creationId xmlns:a16="http://schemas.microsoft.com/office/drawing/2014/main" id="{40C5125E-CD3C-4DE3-B71B-905707A54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31815" y="48312067"/>
                <a:ext cx="409575" cy="411163"/>
              </a:xfrm>
              <a:custGeom>
                <a:avLst/>
                <a:gdLst>
                  <a:gd name="T0" fmla="*/ 86 w 258"/>
                  <a:gd name="T1" fmla="*/ 259 h 259"/>
                  <a:gd name="T2" fmla="*/ 0 w 258"/>
                  <a:gd name="T3" fmla="*/ 259 h 259"/>
                  <a:gd name="T4" fmla="*/ 0 w 258"/>
                  <a:gd name="T5" fmla="*/ 0 h 259"/>
                  <a:gd name="T6" fmla="*/ 258 w 258"/>
                  <a:gd name="T7" fmla="*/ 0 h 259"/>
                  <a:gd name="T8" fmla="*/ 258 w 258"/>
                  <a:gd name="T9" fmla="*/ 86 h 259"/>
                  <a:gd name="T10" fmla="*/ 86 w 258"/>
                  <a:gd name="T11" fmla="*/ 86 h 259"/>
                  <a:gd name="T12" fmla="*/ 86 w 258"/>
                  <a:gd name="T13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8" h="259">
                    <a:moveTo>
                      <a:pt x="86" y="259"/>
                    </a:moveTo>
                    <a:lnTo>
                      <a:pt x="0" y="259"/>
                    </a:lnTo>
                    <a:lnTo>
                      <a:pt x="0" y="0"/>
                    </a:lnTo>
                    <a:lnTo>
                      <a:pt x="258" y="0"/>
                    </a:lnTo>
                    <a:lnTo>
                      <a:pt x="258" y="86"/>
                    </a:lnTo>
                    <a:lnTo>
                      <a:pt x="86" y="86"/>
                    </a:lnTo>
                    <a:lnTo>
                      <a:pt x="86" y="2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92">
                <a:extLst>
                  <a:ext uri="{FF2B5EF4-FFF2-40B4-BE49-F238E27FC236}">
                    <a16:creationId xmlns:a16="http://schemas.microsoft.com/office/drawing/2014/main" id="{633EFE14-604A-49F6-AEB4-D320FF681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5440" y="48105692"/>
                <a:ext cx="411163" cy="412750"/>
              </a:xfrm>
              <a:custGeom>
                <a:avLst/>
                <a:gdLst>
                  <a:gd name="T0" fmla="*/ 86 w 259"/>
                  <a:gd name="T1" fmla="*/ 260 h 260"/>
                  <a:gd name="T2" fmla="*/ 0 w 259"/>
                  <a:gd name="T3" fmla="*/ 260 h 260"/>
                  <a:gd name="T4" fmla="*/ 0 w 259"/>
                  <a:gd name="T5" fmla="*/ 0 h 260"/>
                  <a:gd name="T6" fmla="*/ 259 w 259"/>
                  <a:gd name="T7" fmla="*/ 0 h 260"/>
                  <a:gd name="T8" fmla="*/ 259 w 259"/>
                  <a:gd name="T9" fmla="*/ 87 h 260"/>
                  <a:gd name="T10" fmla="*/ 86 w 259"/>
                  <a:gd name="T11" fmla="*/ 87 h 260"/>
                  <a:gd name="T12" fmla="*/ 86 w 259"/>
                  <a:gd name="T13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9" h="260">
                    <a:moveTo>
                      <a:pt x="86" y="260"/>
                    </a:moveTo>
                    <a:lnTo>
                      <a:pt x="0" y="260"/>
                    </a:lnTo>
                    <a:lnTo>
                      <a:pt x="0" y="0"/>
                    </a:lnTo>
                    <a:lnTo>
                      <a:pt x="259" y="0"/>
                    </a:lnTo>
                    <a:lnTo>
                      <a:pt x="259" y="87"/>
                    </a:lnTo>
                    <a:lnTo>
                      <a:pt x="86" y="87"/>
                    </a:lnTo>
                    <a:lnTo>
                      <a:pt x="86" y="2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DFA5B3B-AF56-42D2-B9AB-72E782944115}"/>
              </a:ext>
            </a:extLst>
          </p:cNvPr>
          <p:cNvCxnSpPr>
            <a:cxnSpLocks/>
          </p:cNvCxnSpPr>
          <p:nvPr/>
        </p:nvCxnSpPr>
        <p:spPr>
          <a:xfrm flipH="1">
            <a:off x="4899336" y="3537830"/>
            <a:ext cx="471440" cy="1187601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AA55A8DD-2ADB-4073-9678-8764AFB26792}"/>
              </a:ext>
            </a:extLst>
          </p:cNvPr>
          <p:cNvSpPr/>
          <p:nvPr/>
        </p:nvSpPr>
        <p:spPr>
          <a:xfrm>
            <a:off x="4686141" y="4452495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15CCF83-831C-494C-9F29-836662795E4C}"/>
              </a:ext>
            </a:extLst>
          </p:cNvPr>
          <p:cNvGrpSpPr/>
          <p:nvPr/>
        </p:nvGrpSpPr>
        <p:grpSpPr>
          <a:xfrm>
            <a:off x="4585322" y="2675590"/>
            <a:ext cx="1720870" cy="1720870"/>
            <a:chOff x="2996017" y="2057399"/>
            <a:chExt cx="1720870" cy="172087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7C77369-F01E-4283-895E-24336C1FF4C0}"/>
                </a:ext>
              </a:extLst>
            </p:cNvPr>
            <p:cNvSpPr/>
            <p:nvPr/>
          </p:nvSpPr>
          <p:spPr>
            <a:xfrm>
              <a:off x="2996017" y="2057399"/>
              <a:ext cx="1720870" cy="172087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b="1" dirty="0"/>
                <a:t>Common “ideas”</a:t>
              </a:r>
            </a:p>
          </p:txBody>
        </p:sp>
        <p:sp>
          <p:nvSpPr>
            <p:cNvPr id="11" name="Freeform 121">
              <a:extLst>
                <a:ext uri="{FF2B5EF4-FFF2-40B4-BE49-F238E27FC236}">
                  <a16:creationId xmlns:a16="http://schemas.microsoft.com/office/drawing/2014/main" id="{43555D93-598F-4279-9ACF-04470A0932B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85477" y="3290354"/>
              <a:ext cx="541950" cy="316668"/>
            </a:xfrm>
            <a:custGeom>
              <a:avLst/>
              <a:gdLst>
                <a:gd name="T0" fmla="*/ 576 w 1152"/>
                <a:gd name="T1" fmla="*/ 571 h 672"/>
                <a:gd name="T2" fmla="*/ 336 w 1152"/>
                <a:gd name="T3" fmla="*/ 672 h 672"/>
                <a:gd name="T4" fmla="*/ 0 w 1152"/>
                <a:gd name="T5" fmla="*/ 336 h 672"/>
                <a:gd name="T6" fmla="*/ 336 w 1152"/>
                <a:gd name="T7" fmla="*/ 0 h 672"/>
                <a:gd name="T8" fmla="*/ 576 w 1152"/>
                <a:gd name="T9" fmla="*/ 101 h 672"/>
                <a:gd name="T10" fmla="*/ 480 w 1152"/>
                <a:gd name="T11" fmla="*/ 336 h 672"/>
                <a:gd name="T12" fmla="*/ 576 w 1152"/>
                <a:gd name="T13" fmla="*/ 571 h 672"/>
                <a:gd name="T14" fmla="*/ 816 w 1152"/>
                <a:gd name="T15" fmla="*/ 0 h 672"/>
                <a:gd name="T16" fmla="*/ 576 w 1152"/>
                <a:gd name="T17" fmla="*/ 101 h 672"/>
                <a:gd name="T18" fmla="*/ 672 w 1152"/>
                <a:gd name="T19" fmla="*/ 336 h 672"/>
                <a:gd name="T20" fmla="*/ 576 w 1152"/>
                <a:gd name="T21" fmla="*/ 571 h 672"/>
                <a:gd name="T22" fmla="*/ 816 w 1152"/>
                <a:gd name="T23" fmla="*/ 672 h 672"/>
                <a:gd name="T24" fmla="*/ 1152 w 1152"/>
                <a:gd name="T25" fmla="*/ 336 h 672"/>
                <a:gd name="T26" fmla="*/ 816 w 1152"/>
                <a:gd name="T27" fmla="*/ 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2" h="672">
                  <a:moveTo>
                    <a:pt x="576" y="571"/>
                  </a:moveTo>
                  <a:cubicBezTo>
                    <a:pt x="515" y="633"/>
                    <a:pt x="430" y="672"/>
                    <a:pt x="336" y="672"/>
                  </a:cubicBezTo>
                  <a:cubicBezTo>
                    <a:pt x="150" y="672"/>
                    <a:pt x="0" y="522"/>
                    <a:pt x="0" y="336"/>
                  </a:cubicBezTo>
                  <a:cubicBezTo>
                    <a:pt x="0" y="150"/>
                    <a:pt x="150" y="0"/>
                    <a:pt x="336" y="0"/>
                  </a:cubicBezTo>
                  <a:cubicBezTo>
                    <a:pt x="430" y="0"/>
                    <a:pt x="515" y="39"/>
                    <a:pt x="576" y="101"/>
                  </a:cubicBezTo>
                  <a:cubicBezTo>
                    <a:pt x="517" y="162"/>
                    <a:pt x="480" y="244"/>
                    <a:pt x="480" y="336"/>
                  </a:cubicBezTo>
                  <a:cubicBezTo>
                    <a:pt x="480" y="428"/>
                    <a:pt x="517" y="510"/>
                    <a:pt x="576" y="571"/>
                  </a:cubicBezTo>
                  <a:close/>
                  <a:moveTo>
                    <a:pt x="816" y="0"/>
                  </a:moveTo>
                  <a:cubicBezTo>
                    <a:pt x="722" y="0"/>
                    <a:pt x="637" y="39"/>
                    <a:pt x="576" y="101"/>
                  </a:cubicBezTo>
                  <a:cubicBezTo>
                    <a:pt x="635" y="162"/>
                    <a:pt x="672" y="244"/>
                    <a:pt x="672" y="336"/>
                  </a:cubicBezTo>
                  <a:cubicBezTo>
                    <a:pt x="672" y="428"/>
                    <a:pt x="635" y="510"/>
                    <a:pt x="576" y="571"/>
                  </a:cubicBezTo>
                  <a:cubicBezTo>
                    <a:pt x="637" y="633"/>
                    <a:pt x="722" y="672"/>
                    <a:pt x="816" y="672"/>
                  </a:cubicBezTo>
                  <a:cubicBezTo>
                    <a:pt x="1002" y="672"/>
                    <a:pt x="1152" y="522"/>
                    <a:pt x="1152" y="336"/>
                  </a:cubicBezTo>
                  <a:cubicBezTo>
                    <a:pt x="1152" y="150"/>
                    <a:pt x="1002" y="0"/>
                    <a:pt x="8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D28D6F69-9A4C-46AA-8FAE-2B6C1BC9B82F}"/>
              </a:ext>
            </a:extLst>
          </p:cNvPr>
          <p:cNvCxnSpPr>
            <a:cxnSpLocks/>
            <a:stCxn id="14" idx="2"/>
            <a:endCxn id="5" idx="6"/>
          </p:cNvCxnSpPr>
          <p:nvPr/>
        </p:nvCxnSpPr>
        <p:spPr>
          <a:xfrm flipH="1" flipV="1">
            <a:off x="7080987" y="4449997"/>
            <a:ext cx="636265" cy="12586"/>
          </a:xfrm>
          <a:prstGeom prst="line">
            <a:avLst/>
          </a:prstGeom>
          <a:ln w="762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92DC0AF6-F394-4A6E-BEB9-EFEDC45CCBB8}"/>
              </a:ext>
            </a:extLst>
          </p:cNvPr>
          <p:cNvCxnSpPr>
            <a:cxnSpLocks/>
          </p:cNvCxnSpPr>
          <p:nvPr/>
        </p:nvCxnSpPr>
        <p:spPr>
          <a:xfrm flipH="1" flipV="1">
            <a:off x="9949896" y="2887648"/>
            <a:ext cx="2214252" cy="512281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2269AAAA-5AE0-4630-AA8C-78E06BF371AF}"/>
              </a:ext>
            </a:extLst>
          </p:cNvPr>
          <p:cNvCxnSpPr>
            <a:cxnSpLocks/>
          </p:cNvCxnSpPr>
          <p:nvPr/>
        </p:nvCxnSpPr>
        <p:spPr>
          <a:xfrm flipH="1" flipV="1">
            <a:off x="9974982" y="2900657"/>
            <a:ext cx="1856341" cy="2962219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4FED255-0E54-4C24-88F9-D10DD5D43D0F}"/>
              </a:ext>
            </a:extLst>
          </p:cNvPr>
          <p:cNvCxnSpPr>
            <a:cxnSpLocks/>
          </p:cNvCxnSpPr>
          <p:nvPr/>
        </p:nvCxnSpPr>
        <p:spPr>
          <a:xfrm flipV="1">
            <a:off x="9235815" y="2882876"/>
            <a:ext cx="637036" cy="2673898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BE059803-1EF9-4422-9A8F-879AE53ED664}"/>
              </a:ext>
            </a:extLst>
          </p:cNvPr>
          <p:cNvCxnSpPr>
            <a:cxnSpLocks/>
          </p:cNvCxnSpPr>
          <p:nvPr/>
        </p:nvCxnSpPr>
        <p:spPr>
          <a:xfrm flipV="1">
            <a:off x="9327209" y="3410673"/>
            <a:ext cx="2836939" cy="2236062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3CFE02B2-2511-41EB-B858-0C7174657761}"/>
              </a:ext>
            </a:extLst>
          </p:cNvPr>
          <p:cNvCxnSpPr>
            <a:cxnSpLocks/>
          </p:cNvCxnSpPr>
          <p:nvPr/>
        </p:nvCxnSpPr>
        <p:spPr>
          <a:xfrm flipV="1">
            <a:off x="11861358" y="3471434"/>
            <a:ext cx="273316" cy="2389925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F5C0142A-066C-4BE7-8A4B-86E05FDC5CC1}"/>
              </a:ext>
            </a:extLst>
          </p:cNvPr>
          <p:cNvCxnSpPr>
            <a:cxnSpLocks/>
          </p:cNvCxnSpPr>
          <p:nvPr/>
        </p:nvCxnSpPr>
        <p:spPr>
          <a:xfrm flipH="1">
            <a:off x="8452539" y="2845250"/>
            <a:ext cx="1537528" cy="1443620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D9AE732E-95FA-4BA7-8EF1-31BB88A71F9A}"/>
              </a:ext>
            </a:extLst>
          </p:cNvPr>
          <p:cNvCxnSpPr>
            <a:cxnSpLocks/>
          </p:cNvCxnSpPr>
          <p:nvPr/>
        </p:nvCxnSpPr>
        <p:spPr>
          <a:xfrm flipH="1" flipV="1">
            <a:off x="8511834" y="4288870"/>
            <a:ext cx="752703" cy="138310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88E8CCF9-8FF1-4F20-A487-F003539EE529}"/>
              </a:ext>
            </a:extLst>
          </p:cNvPr>
          <p:cNvCxnSpPr>
            <a:cxnSpLocks/>
          </p:cNvCxnSpPr>
          <p:nvPr/>
        </p:nvCxnSpPr>
        <p:spPr>
          <a:xfrm flipV="1">
            <a:off x="9244544" y="4219808"/>
            <a:ext cx="645695" cy="1408022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DA889952-B118-485B-B4E7-1E2CAD8EA3C4}"/>
              </a:ext>
            </a:extLst>
          </p:cNvPr>
          <p:cNvCxnSpPr>
            <a:cxnSpLocks/>
          </p:cNvCxnSpPr>
          <p:nvPr/>
        </p:nvCxnSpPr>
        <p:spPr>
          <a:xfrm flipH="1">
            <a:off x="8527416" y="4237639"/>
            <a:ext cx="1373386" cy="2829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5342553E-727D-45D5-9AE2-5130062D7B7B}"/>
              </a:ext>
            </a:extLst>
          </p:cNvPr>
          <p:cNvCxnSpPr>
            <a:cxnSpLocks/>
          </p:cNvCxnSpPr>
          <p:nvPr/>
        </p:nvCxnSpPr>
        <p:spPr>
          <a:xfrm flipH="1" flipV="1">
            <a:off x="9890239" y="4237639"/>
            <a:ext cx="745851" cy="816146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E8D55452-01C1-4256-8D79-62C7A44BEC66}"/>
              </a:ext>
            </a:extLst>
          </p:cNvPr>
          <p:cNvCxnSpPr>
            <a:cxnSpLocks/>
          </p:cNvCxnSpPr>
          <p:nvPr/>
        </p:nvCxnSpPr>
        <p:spPr>
          <a:xfrm flipV="1">
            <a:off x="10659310" y="2176551"/>
            <a:ext cx="624554" cy="287011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3F06B50-EAEA-4868-8A9B-0527A7CCF4C9}"/>
              </a:ext>
            </a:extLst>
          </p:cNvPr>
          <p:cNvCxnSpPr>
            <a:cxnSpLocks/>
          </p:cNvCxnSpPr>
          <p:nvPr/>
        </p:nvCxnSpPr>
        <p:spPr>
          <a:xfrm>
            <a:off x="10668377" y="5053786"/>
            <a:ext cx="1250610" cy="83281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FE826079-37C2-4908-BE08-61B2CD287EF0}"/>
              </a:ext>
            </a:extLst>
          </p:cNvPr>
          <p:cNvCxnSpPr>
            <a:cxnSpLocks/>
          </p:cNvCxnSpPr>
          <p:nvPr/>
        </p:nvCxnSpPr>
        <p:spPr>
          <a:xfrm>
            <a:off x="12164148" y="3385431"/>
            <a:ext cx="776823" cy="1397076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E73D35AE-A9B8-4BC1-B72A-9305EC38EF87}"/>
              </a:ext>
            </a:extLst>
          </p:cNvPr>
          <p:cNvSpPr/>
          <p:nvPr/>
        </p:nvSpPr>
        <p:spPr>
          <a:xfrm>
            <a:off x="8254772" y="4023148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11DA233F-9B64-45FF-A18F-4D5AA811517D}"/>
              </a:ext>
            </a:extLst>
          </p:cNvPr>
          <p:cNvSpPr/>
          <p:nvPr/>
        </p:nvSpPr>
        <p:spPr>
          <a:xfrm>
            <a:off x="10419070" y="4803881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616CA12E-D429-4B7A-943B-7C832588A5D1}"/>
              </a:ext>
            </a:extLst>
          </p:cNvPr>
          <p:cNvSpPr/>
          <p:nvPr/>
        </p:nvSpPr>
        <p:spPr>
          <a:xfrm>
            <a:off x="12701669" y="4508719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A9E31D2-FBE4-4C17-9E48-A9F4C73D2B93}"/>
              </a:ext>
            </a:extLst>
          </p:cNvPr>
          <p:cNvSpPr/>
          <p:nvPr/>
        </p:nvSpPr>
        <p:spPr>
          <a:xfrm>
            <a:off x="11044998" y="1933766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4A1030C-0CB4-4262-8CC7-F16AB7EA5A72}"/>
              </a:ext>
            </a:extLst>
          </p:cNvPr>
          <p:cNvSpPr/>
          <p:nvPr/>
        </p:nvSpPr>
        <p:spPr>
          <a:xfrm>
            <a:off x="9663670" y="3977023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A4ED09B-2E25-41A9-9457-D462A6438A5F}"/>
              </a:ext>
            </a:extLst>
          </p:cNvPr>
          <p:cNvGrpSpPr/>
          <p:nvPr/>
        </p:nvGrpSpPr>
        <p:grpSpPr>
          <a:xfrm>
            <a:off x="8355160" y="4670208"/>
            <a:ext cx="1881427" cy="1881427"/>
            <a:chOff x="8282480" y="4386540"/>
            <a:chExt cx="1881427" cy="188142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CDC3C33-F711-4067-8060-AB2847700AA3}"/>
                </a:ext>
              </a:extLst>
            </p:cNvPr>
            <p:cNvSpPr/>
            <p:nvPr/>
          </p:nvSpPr>
          <p:spPr>
            <a:xfrm>
              <a:off x="8282480" y="4386540"/>
              <a:ext cx="1881427" cy="188142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/>
                <a:t>Future Skills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F8DA4C1-70DE-41D6-A682-BA81C174112C}"/>
                </a:ext>
              </a:extLst>
            </p:cNvPr>
            <p:cNvGrpSpPr/>
            <p:nvPr/>
          </p:nvGrpSpPr>
          <p:grpSpPr>
            <a:xfrm>
              <a:off x="9114058" y="5772769"/>
              <a:ext cx="218270" cy="373868"/>
              <a:chOff x="3833818" y="37354842"/>
              <a:chExt cx="481013" cy="823912"/>
            </a:xfrm>
            <a:solidFill>
              <a:schemeClr val="bg1"/>
            </a:solidFill>
          </p:grpSpPr>
          <p:sp>
            <p:nvSpPr>
              <p:cNvPr id="25" name="Oval 87">
                <a:extLst>
                  <a:ext uri="{FF2B5EF4-FFF2-40B4-BE49-F238E27FC236}">
                    <a16:creationId xmlns:a16="http://schemas.microsoft.com/office/drawing/2014/main" id="{3D82029B-621B-4050-ACC5-DE6AE929E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5268" y="37492954"/>
                <a:ext cx="138113" cy="1365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88">
                <a:extLst>
                  <a:ext uri="{FF2B5EF4-FFF2-40B4-BE49-F238E27FC236}">
                    <a16:creationId xmlns:a16="http://schemas.microsoft.com/office/drawing/2014/main" id="{700AC474-8849-45E4-9477-BC8919AE22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3818" y="37354842"/>
                <a:ext cx="481013" cy="823912"/>
              </a:xfrm>
              <a:custGeom>
                <a:avLst/>
                <a:gdLst>
                  <a:gd name="T0" fmla="*/ 633 w 672"/>
                  <a:gd name="T1" fmla="*/ 494 h 1152"/>
                  <a:gd name="T2" fmla="*/ 672 w 672"/>
                  <a:gd name="T3" fmla="*/ 336 h 1152"/>
                  <a:gd name="T4" fmla="*/ 336 w 672"/>
                  <a:gd name="T5" fmla="*/ 0 h 1152"/>
                  <a:gd name="T6" fmla="*/ 0 w 672"/>
                  <a:gd name="T7" fmla="*/ 336 h 1152"/>
                  <a:gd name="T8" fmla="*/ 39 w 672"/>
                  <a:gd name="T9" fmla="*/ 494 h 1152"/>
                  <a:gd name="T10" fmla="*/ 39 w 672"/>
                  <a:gd name="T11" fmla="*/ 494 h 1152"/>
                  <a:gd name="T12" fmla="*/ 336 w 672"/>
                  <a:gd name="T13" fmla="*/ 1152 h 1152"/>
                  <a:gd name="T14" fmla="*/ 633 w 672"/>
                  <a:gd name="T15" fmla="*/ 494 h 1152"/>
                  <a:gd name="T16" fmla="*/ 336 w 672"/>
                  <a:gd name="T17" fmla="*/ 96 h 1152"/>
                  <a:gd name="T18" fmla="*/ 576 w 672"/>
                  <a:gd name="T19" fmla="*/ 336 h 1152"/>
                  <a:gd name="T20" fmla="*/ 512 w 672"/>
                  <a:gd name="T21" fmla="*/ 499 h 1152"/>
                  <a:gd name="T22" fmla="*/ 336 w 672"/>
                  <a:gd name="T23" fmla="*/ 384 h 1152"/>
                  <a:gd name="T24" fmla="*/ 160 w 672"/>
                  <a:gd name="T25" fmla="*/ 499 h 1152"/>
                  <a:gd name="T26" fmla="*/ 96 w 672"/>
                  <a:gd name="T27" fmla="*/ 336 h 1152"/>
                  <a:gd name="T28" fmla="*/ 336 w 672"/>
                  <a:gd name="T29" fmla="*/ 96 h 1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72" h="1152">
                    <a:moveTo>
                      <a:pt x="633" y="494"/>
                    </a:moveTo>
                    <a:cubicBezTo>
                      <a:pt x="658" y="447"/>
                      <a:pt x="672" y="393"/>
                      <a:pt x="672" y="336"/>
                    </a:cubicBezTo>
                    <a:cubicBezTo>
                      <a:pt x="672" y="150"/>
                      <a:pt x="522" y="0"/>
                      <a:pt x="336" y="0"/>
                    </a:cubicBezTo>
                    <a:cubicBezTo>
                      <a:pt x="150" y="0"/>
                      <a:pt x="0" y="150"/>
                      <a:pt x="0" y="336"/>
                    </a:cubicBezTo>
                    <a:cubicBezTo>
                      <a:pt x="0" y="393"/>
                      <a:pt x="14" y="447"/>
                      <a:pt x="39" y="494"/>
                    </a:cubicBezTo>
                    <a:cubicBezTo>
                      <a:pt x="39" y="494"/>
                      <a:pt x="39" y="494"/>
                      <a:pt x="39" y="494"/>
                    </a:cubicBezTo>
                    <a:cubicBezTo>
                      <a:pt x="336" y="1152"/>
                      <a:pt x="336" y="1152"/>
                      <a:pt x="336" y="1152"/>
                    </a:cubicBezTo>
                    <a:cubicBezTo>
                      <a:pt x="633" y="494"/>
                      <a:pt x="633" y="494"/>
                      <a:pt x="633" y="494"/>
                    </a:cubicBezTo>
                    <a:close/>
                    <a:moveTo>
                      <a:pt x="336" y="96"/>
                    </a:moveTo>
                    <a:cubicBezTo>
                      <a:pt x="469" y="96"/>
                      <a:pt x="576" y="203"/>
                      <a:pt x="576" y="336"/>
                    </a:cubicBezTo>
                    <a:cubicBezTo>
                      <a:pt x="576" y="399"/>
                      <a:pt x="552" y="456"/>
                      <a:pt x="512" y="499"/>
                    </a:cubicBezTo>
                    <a:cubicBezTo>
                      <a:pt x="482" y="431"/>
                      <a:pt x="415" y="384"/>
                      <a:pt x="336" y="384"/>
                    </a:cubicBezTo>
                    <a:cubicBezTo>
                      <a:pt x="257" y="384"/>
                      <a:pt x="190" y="431"/>
                      <a:pt x="160" y="499"/>
                    </a:cubicBezTo>
                    <a:cubicBezTo>
                      <a:pt x="120" y="456"/>
                      <a:pt x="96" y="399"/>
                      <a:pt x="96" y="336"/>
                    </a:cubicBezTo>
                    <a:cubicBezTo>
                      <a:pt x="96" y="203"/>
                      <a:pt x="203" y="96"/>
                      <a:pt x="33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8D2A288-5D09-4FBC-B297-9258FB9FCEA9}"/>
              </a:ext>
            </a:extLst>
          </p:cNvPr>
          <p:cNvGrpSpPr/>
          <p:nvPr/>
        </p:nvGrpSpPr>
        <p:grpSpPr>
          <a:xfrm>
            <a:off x="10967025" y="4889345"/>
            <a:ext cx="1881427" cy="1881427"/>
            <a:chOff x="10935042" y="4714248"/>
            <a:chExt cx="1881427" cy="1881427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E8F7EEB-53EF-41DA-A15F-3C40BC931C26}"/>
                </a:ext>
              </a:extLst>
            </p:cNvPr>
            <p:cNvSpPr/>
            <p:nvPr/>
          </p:nvSpPr>
          <p:spPr>
            <a:xfrm>
              <a:off x="10935042" y="4714248"/>
              <a:ext cx="1881427" cy="188142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dirty="0"/>
                <a:t>New</a:t>
              </a:r>
              <a:br>
                <a:rPr lang="en-GB" sz="2000" dirty="0"/>
              </a:br>
              <a:r>
                <a:rPr lang="en-GB" sz="2000" dirty="0"/>
                <a:t>Partner</a:t>
              </a:r>
              <a:br>
                <a:rPr lang="en-GB" sz="2000" dirty="0"/>
              </a:br>
              <a:r>
                <a:rPr lang="en-GB" sz="2000" dirty="0"/>
                <a:t>Insights</a:t>
              </a:r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80710B5D-70E1-455A-9B84-44DE4E89A6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598015" y="6109228"/>
              <a:ext cx="555480" cy="370999"/>
            </a:xfrm>
            <a:custGeom>
              <a:avLst/>
              <a:gdLst>
                <a:gd name="T0" fmla="*/ 1056 w 1152"/>
                <a:gd name="T1" fmla="*/ 144 h 768"/>
                <a:gd name="T2" fmla="*/ 912 w 1152"/>
                <a:gd name="T3" fmla="*/ 288 h 768"/>
                <a:gd name="T4" fmla="*/ 768 w 1152"/>
                <a:gd name="T5" fmla="*/ 144 h 768"/>
                <a:gd name="T6" fmla="*/ 912 w 1152"/>
                <a:gd name="T7" fmla="*/ 0 h 768"/>
                <a:gd name="T8" fmla="*/ 1056 w 1152"/>
                <a:gd name="T9" fmla="*/ 144 h 768"/>
                <a:gd name="T10" fmla="*/ 240 w 1152"/>
                <a:gd name="T11" fmla="*/ 0 h 768"/>
                <a:gd name="T12" fmla="*/ 96 w 1152"/>
                <a:gd name="T13" fmla="*/ 144 h 768"/>
                <a:gd name="T14" fmla="*/ 240 w 1152"/>
                <a:gd name="T15" fmla="*/ 288 h 768"/>
                <a:gd name="T16" fmla="*/ 384 w 1152"/>
                <a:gd name="T17" fmla="*/ 144 h 768"/>
                <a:gd name="T18" fmla="*/ 240 w 1152"/>
                <a:gd name="T19" fmla="*/ 0 h 768"/>
                <a:gd name="T20" fmla="*/ 912 w 1152"/>
                <a:gd name="T21" fmla="*/ 288 h 768"/>
                <a:gd name="T22" fmla="*/ 240 w 1152"/>
                <a:gd name="T23" fmla="*/ 288 h 768"/>
                <a:gd name="T24" fmla="*/ 0 w 1152"/>
                <a:gd name="T25" fmla="*/ 528 h 768"/>
                <a:gd name="T26" fmla="*/ 0 w 1152"/>
                <a:gd name="T27" fmla="*/ 768 h 768"/>
                <a:gd name="T28" fmla="*/ 480 w 1152"/>
                <a:gd name="T29" fmla="*/ 768 h 768"/>
                <a:gd name="T30" fmla="*/ 480 w 1152"/>
                <a:gd name="T31" fmla="*/ 528 h 768"/>
                <a:gd name="T32" fmla="*/ 460 w 1152"/>
                <a:gd name="T33" fmla="*/ 432 h 768"/>
                <a:gd name="T34" fmla="*/ 692 w 1152"/>
                <a:gd name="T35" fmla="*/ 432 h 768"/>
                <a:gd name="T36" fmla="*/ 672 w 1152"/>
                <a:gd name="T37" fmla="*/ 528 h 768"/>
                <a:gd name="T38" fmla="*/ 672 w 1152"/>
                <a:gd name="T39" fmla="*/ 768 h 768"/>
                <a:gd name="T40" fmla="*/ 1152 w 1152"/>
                <a:gd name="T41" fmla="*/ 768 h 768"/>
                <a:gd name="T42" fmla="*/ 1152 w 1152"/>
                <a:gd name="T43" fmla="*/ 528 h 768"/>
                <a:gd name="T44" fmla="*/ 912 w 1152"/>
                <a:gd name="T45" fmla="*/ 28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2" h="768">
                  <a:moveTo>
                    <a:pt x="1056" y="144"/>
                  </a:moveTo>
                  <a:cubicBezTo>
                    <a:pt x="1056" y="224"/>
                    <a:pt x="992" y="288"/>
                    <a:pt x="912" y="288"/>
                  </a:cubicBezTo>
                  <a:cubicBezTo>
                    <a:pt x="832" y="288"/>
                    <a:pt x="768" y="224"/>
                    <a:pt x="768" y="144"/>
                  </a:cubicBezTo>
                  <a:cubicBezTo>
                    <a:pt x="768" y="64"/>
                    <a:pt x="832" y="0"/>
                    <a:pt x="912" y="0"/>
                  </a:cubicBezTo>
                  <a:cubicBezTo>
                    <a:pt x="992" y="0"/>
                    <a:pt x="1056" y="64"/>
                    <a:pt x="1056" y="144"/>
                  </a:cubicBezTo>
                  <a:close/>
                  <a:moveTo>
                    <a:pt x="240" y="0"/>
                  </a:moveTo>
                  <a:cubicBezTo>
                    <a:pt x="160" y="0"/>
                    <a:pt x="96" y="64"/>
                    <a:pt x="96" y="144"/>
                  </a:cubicBezTo>
                  <a:cubicBezTo>
                    <a:pt x="96" y="224"/>
                    <a:pt x="160" y="288"/>
                    <a:pt x="240" y="288"/>
                  </a:cubicBezTo>
                  <a:cubicBezTo>
                    <a:pt x="320" y="288"/>
                    <a:pt x="384" y="224"/>
                    <a:pt x="384" y="144"/>
                  </a:cubicBezTo>
                  <a:cubicBezTo>
                    <a:pt x="384" y="64"/>
                    <a:pt x="320" y="0"/>
                    <a:pt x="240" y="0"/>
                  </a:cubicBezTo>
                  <a:close/>
                  <a:moveTo>
                    <a:pt x="912" y="288"/>
                  </a:moveTo>
                  <a:cubicBezTo>
                    <a:pt x="240" y="288"/>
                    <a:pt x="240" y="288"/>
                    <a:pt x="240" y="288"/>
                  </a:cubicBezTo>
                  <a:cubicBezTo>
                    <a:pt x="107" y="288"/>
                    <a:pt x="0" y="395"/>
                    <a:pt x="0" y="528"/>
                  </a:cubicBezTo>
                  <a:cubicBezTo>
                    <a:pt x="0" y="768"/>
                    <a:pt x="0" y="768"/>
                    <a:pt x="0" y="768"/>
                  </a:cubicBezTo>
                  <a:cubicBezTo>
                    <a:pt x="480" y="768"/>
                    <a:pt x="480" y="768"/>
                    <a:pt x="480" y="768"/>
                  </a:cubicBezTo>
                  <a:cubicBezTo>
                    <a:pt x="480" y="528"/>
                    <a:pt x="480" y="528"/>
                    <a:pt x="480" y="528"/>
                  </a:cubicBezTo>
                  <a:cubicBezTo>
                    <a:pt x="480" y="494"/>
                    <a:pt x="473" y="461"/>
                    <a:pt x="460" y="432"/>
                  </a:cubicBezTo>
                  <a:cubicBezTo>
                    <a:pt x="692" y="432"/>
                    <a:pt x="692" y="432"/>
                    <a:pt x="692" y="432"/>
                  </a:cubicBezTo>
                  <a:cubicBezTo>
                    <a:pt x="679" y="461"/>
                    <a:pt x="672" y="494"/>
                    <a:pt x="672" y="528"/>
                  </a:cubicBezTo>
                  <a:cubicBezTo>
                    <a:pt x="672" y="768"/>
                    <a:pt x="672" y="768"/>
                    <a:pt x="672" y="768"/>
                  </a:cubicBezTo>
                  <a:cubicBezTo>
                    <a:pt x="1152" y="768"/>
                    <a:pt x="1152" y="768"/>
                    <a:pt x="1152" y="768"/>
                  </a:cubicBezTo>
                  <a:cubicBezTo>
                    <a:pt x="1152" y="528"/>
                    <a:pt x="1152" y="528"/>
                    <a:pt x="1152" y="528"/>
                  </a:cubicBezTo>
                  <a:cubicBezTo>
                    <a:pt x="1152" y="395"/>
                    <a:pt x="1045" y="288"/>
                    <a:pt x="912" y="28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42DF178-5A1A-46C8-AAEA-8BB14359019D}"/>
              </a:ext>
            </a:extLst>
          </p:cNvPr>
          <p:cNvGrpSpPr/>
          <p:nvPr/>
        </p:nvGrpSpPr>
        <p:grpSpPr>
          <a:xfrm>
            <a:off x="11082108" y="2347363"/>
            <a:ext cx="2105132" cy="2105132"/>
            <a:chOff x="10581817" y="1891792"/>
            <a:chExt cx="2105132" cy="210513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B45EE75-EDB9-4B68-A7D1-5DCA9CDB467F}"/>
                </a:ext>
              </a:extLst>
            </p:cNvPr>
            <p:cNvSpPr/>
            <p:nvPr/>
          </p:nvSpPr>
          <p:spPr>
            <a:xfrm>
              <a:off x="10581817" y="1891792"/>
              <a:ext cx="2105132" cy="210513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800" b="1" dirty="0">
                  <a:solidFill>
                    <a:schemeClr val="tx1"/>
                  </a:solidFill>
                </a:rPr>
                <a:t>NextGen Supply and Demand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AB1D31D-5F28-4218-A529-DB474DF9F5B0}"/>
                </a:ext>
              </a:extLst>
            </p:cNvPr>
            <p:cNvGrpSpPr/>
            <p:nvPr/>
          </p:nvGrpSpPr>
          <p:grpSpPr>
            <a:xfrm>
              <a:off x="11429198" y="3425677"/>
              <a:ext cx="410370" cy="411162"/>
              <a:chOff x="9857502" y="48105692"/>
              <a:chExt cx="822325" cy="823912"/>
            </a:xfrm>
            <a:solidFill>
              <a:schemeClr val="tx1"/>
            </a:solidFill>
          </p:grpSpPr>
          <p:sp>
            <p:nvSpPr>
              <p:cNvPr id="64" name="Freeform 80">
                <a:extLst>
                  <a:ext uri="{FF2B5EF4-FFF2-40B4-BE49-F238E27FC236}">
                    <a16:creationId xmlns:a16="http://schemas.microsoft.com/office/drawing/2014/main" id="{28EF15CF-0F5C-4F91-908E-DCE858FA6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7502" y="48243804"/>
                <a:ext cx="685800" cy="685800"/>
              </a:xfrm>
              <a:custGeom>
                <a:avLst/>
                <a:gdLst>
                  <a:gd name="T0" fmla="*/ 345 w 432"/>
                  <a:gd name="T1" fmla="*/ 346 h 432"/>
                  <a:gd name="T2" fmla="*/ 86 w 432"/>
                  <a:gd name="T3" fmla="*/ 346 h 432"/>
                  <a:gd name="T4" fmla="*/ 86 w 432"/>
                  <a:gd name="T5" fmla="*/ 86 h 432"/>
                  <a:gd name="T6" fmla="*/ 216 w 432"/>
                  <a:gd name="T7" fmla="*/ 86 h 432"/>
                  <a:gd name="T8" fmla="*/ 216 w 432"/>
                  <a:gd name="T9" fmla="*/ 0 h 432"/>
                  <a:gd name="T10" fmla="*/ 0 w 432"/>
                  <a:gd name="T11" fmla="*/ 0 h 432"/>
                  <a:gd name="T12" fmla="*/ 0 w 432"/>
                  <a:gd name="T13" fmla="*/ 432 h 432"/>
                  <a:gd name="T14" fmla="*/ 432 w 432"/>
                  <a:gd name="T15" fmla="*/ 432 h 432"/>
                  <a:gd name="T16" fmla="*/ 432 w 432"/>
                  <a:gd name="T17" fmla="*/ 216 h 432"/>
                  <a:gd name="T18" fmla="*/ 345 w 432"/>
                  <a:gd name="T19" fmla="*/ 216 h 432"/>
                  <a:gd name="T20" fmla="*/ 345 w 432"/>
                  <a:gd name="T21" fmla="*/ 34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2" h="432">
                    <a:moveTo>
                      <a:pt x="345" y="346"/>
                    </a:moveTo>
                    <a:lnTo>
                      <a:pt x="86" y="346"/>
                    </a:lnTo>
                    <a:lnTo>
                      <a:pt x="86" y="86"/>
                    </a:lnTo>
                    <a:lnTo>
                      <a:pt x="216" y="86"/>
                    </a:lnTo>
                    <a:lnTo>
                      <a:pt x="216" y="0"/>
                    </a:lnTo>
                    <a:lnTo>
                      <a:pt x="0" y="0"/>
                    </a:lnTo>
                    <a:lnTo>
                      <a:pt x="0" y="432"/>
                    </a:lnTo>
                    <a:lnTo>
                      <a:pt x="432" y="432"/>
                    </a:lnTo>
                    <a:lnTo>
                      <a:pt x="432" y="216"/>
                    </a:lnTo>
                    <a:lnTo>
                      <a:pt x="345" y="216"/>
                    </a:lnTo>
                    <a:lnTo>
                      <a:pt x="345" y="3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81">
                <a:extLst>
                  <a:ext uri="{FF2B5EF4-FFF2-40B4-BE49-F238E27FC236}">
                    <a16:creationId xmlns:a16="http://schemas.microsoft.com/office/drawing/2014/main" id="{8CAD15DD-3078-4B9C-B37E-69871370C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6927" y="48105692"/>
                <a:ext cx="342900" cy="342900"/>
              </a:xfrm>
              <a:custGeom>
                <a:avLst/>
                <a:gdLst>
                  <a:gd name="T0" fmla="*/ 0 w 216"/>
                  <a:gd name="T1" fmla="*/ 87 h 216"/>
                  <a:gd name="T2" fmla="*/ 130 w 216"/>
                  <a:gd name="T3" fmla="*/ 87 h 216"/>
                  <a:gd name="T4" fmla="*/ 130 w 216"/>
                  <a:gd name="T5" fmla="*/ 216 h 216"/>
                  <a:gd name="T6" fmla="*/ 216 w 216"/>
                  <a:gd name="T7" fmla="*/ 216 h 216"/>
                  <a:gd name="T8" fmla="*/ 216 w 216"/>
                  <a:gd name="T9" fmla="*/ 0 h 216"/>
                  <a:gd name="T10" fmla="*/ 0 w 216"/>
                  <a:gd name="T11" fmla="*/ 0 h 216"/>
                  <a:gd name="T12" fmla="*/ 0 w 216"/>
                  <a:gd name="T13" fmla="*/ 87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216">
                    <a:moveTo>
                      <a:pt x="0" y="87"/>
                    </a:moveTo>
                    <a:lnTo>
                      <a:pt x="130" y="87"/>
                    </a:lnTo>
                    <a:lnTo>
                      <a:pt x="130" y="216"/>
                    </a:lnTo>
                    <a:lnTo>
                      <a:pt x="216" y="216"/>
                    </a:lnTo>
                    <a:lnTo>
                      <a:pt x="216" y="0"/>
                    </a:lnTo>
                    <a:lnTo>
                      <a:pt x="0" y="0"/>
                    </a:lnTo>
                    <a:lnTo>
                      <a:pt x="0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82">
                <a:extLst>
                  <a:ext uri="{FF2B5EF4-FFF2-40B4-BE49-F238E27FC236}">
                    <a16:creationId xmlns:a16="http://schemas.microsoft.com/office/drawing/2014/main" id="{B63A2ABB-48B4-42FD-BA53-7B489C6437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32140" y="48518442"/>
                <a:ext cx="136525" cy="1365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A1A0720-D4AF-4DC6-88BA-91490F297F22}"/>
              </a:ext>
            </a:extLst>
          </p:cNvPr>
          <p:cNvGrpSpPr/>
          <p:nvPr/>
        </p:nvGrpSpPr>
        <p:grpSpPr>
          <a:xfrm>
            <a:off x="9049354" y="1933766"/>
            <a:ext cx="1881427" cy="1881427"/>
            <a:chOff x="8580765" y="2323457"/>
            <a:chExt cx="1881427" cy="1881427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6CC5BB7D-37A4-4ED1-A79F-C2A4DAA2D69C}"/>
                </a:ext>
              </a:extLst>
            </p:cNvPr>
            <p:cNvSpPr/>
            <p:nvPr/>
          </p:nvSpPr>
          <p:spPr>
            <a:xfrm>
              <a:off x="8580765" y="2323457"/>
              <a:ext cx="1881427" cy="18814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/>
                <a:t>Industry Signals</a:t>
              </a:r>
            </a:p>
          </p:txBody>
        </p:sp>
        <p:sp>
          <p:nvSpPr>
            <p:cNvPr id="68" name="Freeform 65">
              <a:extLst>
                <a:ext uri="{FF2B5EF4-FFF2-40B4-BE49-F238E27FC236}">
                  <a16:creationId xmlns:a16="http://schemas.microsoft.com/office/drawing/2014/main" id="{E2E6F94B-1CA8-4FAE-8881-3AC3A3E228B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381626" y="3699785"/>
              <a:ext cx="279705" cy="372712"/>
            </a:xfrm>
            <a:custGeom>
              <a:avLst/>
              <a:gdLst>
                <a:gd name="T0" fmla="*/ 432 w 864"/>
                <a:gd name="T1" fmla="*/ 0 h 1152"/>
                <a:gd name="T2" fmla="*/ 0 w 864"/>
                <a:gd name="T3" fmla="*/ 432 h 1152"/>
                <a:gd name="T4" fmla="*/ 240 w 864"/>
                <a:gd name="T5" fmla="*/ 819 h 1152"/>
                <a:gd name="T6" fmla="*/ 240 w 864"/>
                <a:gd name="T7" fmla="*/ 672 h 1152"/>
                <a:gd name="T8" fmla="*/ 624 w 864"/>
                <a:gd name="T9" fmla="*/ 672 h 1152"/>
                <a:gd name="T10" fmla="*/ 624 w 864"/>
                <a:gd name="T11" fmla="*/ 819 h 1152"/>
                <a:gd name="T12" fmla="*/ 864 w 864"/>
                <a:gd name="T13" fmla="*/ 432 h 1152"/>
                <a:gd name="T14" fmla="*/ 432 w 864"/>
                <a:gd name="T15" fmla="*/ 0 h 1152"/>
                <a:gd name="T16" fmla="*/ 432 w 864"/>
                <a:gd name="T17" fmla="*/ 528 h 1152"/>
                <a:gd name="T18" fmla="*/ 336 w 864"/>
                <a:gd name="T19" fmla="*/ 336 h 1152"/>
                <a:gd name="T20" fmla="*/ 528 w 864"/>
                <a:gd name="T21" fmla="*/ 336 h 1152"/>
                <a:gd name="T22" fmla="*/ 432 w 864"/>
                <a:gd name="T23" fmla="*/ 528 h 1152"/>
                <a:gd name="T24" fmla="*/ 624 w 864"/>
                <a:gd name="T25" fmla="*/ 819 h 1152"/>
                <a:gd name="T26" fmla="*/ 624 w 864"/>
                <a:gd name="T27" fmla="*/ 960 h 1152"/>
                <a:gd name="T28" fmla="*/ 432 w 864"/>
                <a:gd name="T29" fmla="*/ 1152 h 1152"/>
                <a:gd name="T30" fmla="*/ 240 w 864"/>
                <a:gd name="T31" fmla="*/ 960 h 1152"/>
                <a:gd name="T32" fmla="*/ 240 w 864"/>
                <a:gd name="T33" fmla="*/ 819 h 1152"/>
                <a:gd name="T34" fmla="*/ 432 w 864"/>
                <a:gd name="T35" fmla="*/ 864 h 1152"/>
                <a:gd name="T36" fmla="*/ 624 w 864"/>
                <a:gd name="T37" fmla="*/ 819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" h="1152">
                  <a:moveTo>
                    <a:pt x="432" y="0"/>
                  </a:moveTo>
                  <a:cubicBezTo>
                    <a:pt x="193" y="0"/>
                    <a:pt x="0" y="193"/>
                    <a:pt x="0" y="432"/>
                  </a:cubicBezTo>
                  <a:cubicBezTo>
                    <a:pt x="0" y="602"/>
                    <a:pt x="98" y="748"/>
                    <a:pt x="240" y="819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624" y="672"/>
                    <a:pt x="624" y="672"/>
                    <a:pt x="624" y="672"/>
                  </a:cubicBezTo>
                  <a:cubicBezTo>
                    <a:pt x="624" y="819"/>
                    <a:pt x="624" y="819"/>
                    <a:pt x="624" y="819"/>
                  </a:cubicBezTo>
                  <a:cubicBezTo>
                    <a:pt x="766" y="748"/>
                    <a:pt x="864" y="602"/>
                    <a:pt x="864" y="432"/>
                  </a:cubicBezTo>
                  <a:cubicBezTo>
                    <a:pt x="864" y="193"/>
                    <a:pt x="671" y="0"/>
                    <a:pt x="432" y="0"/>
                  </a:cubicBezTo>
                  <a:close/>
                  <a:moveTo>
                    <a:pt x="432" y="528"/>
                  </a:moveTo>
                  <a:cubicBezTo>
                    <a:pt x="336" y="336"/>
                    <a:pt x="336" y="336"/>
                    <a:pt x="336" y="336"/>
                  </a:cubicBezTo>
                  <a:cubicBezTo>
                    <a:pt x="528" y="336"/>
                    <a:pt x="528" y="336"/>
                    <a:pt x="528" y="336"/>
                  </a:cubicBezTo>
                  <a:lnTo>
                    <a:pt x="432" y="528"/>
                  </a:lnTo>
                  <a:close/>
                  <a:moveTo>
                    <a:pt x="624" y="819"/>
                  </a:moveTo>
                  <a:cubicBezTo>
                    <a:pt x="624" y="960"/>
                    <a:pt x="624" y="960"/>
                    <a:pt x="624" y="960"/>
                  </a:cubicBezTo>
                  <a:cubicBezTo>
                    <a:pt x="624" y="1066"/>
                    <a:pt x="538" y="1152"/>
                    <a:pt x="432" y="1152"/>
                  </a:cubicBezTo>
                  <a:cubicBezTo>
                    <a:pt x="326" y="1152"/>
                    <a:pt x="240" y="1066"/>
                    <a:pt x="240" y="960"/>
                  </a:cubicBezTo>
                  <a:cubicBezTo>
                    <a:pt x="240" y="819"/>
                    <a:pt x="240" y="819"/>
                    <a:pt x="240" y="819"/>
                  </a:cubicBezTo>
                  <a:cubicBezTo>
                    <a:pt x="298" y="848"/>
                    <a:pt x="363" y="864"/>
                    <a:pt x="432" y="864"/>
                  </a:cubicBezTo>
                  <a:cubicBezTo>
                    <a:pt x="501" y="864"/>
                    <a:pt x="566" y="848"/>
                    <a:pt x="624" y="8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4988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7">
            <a:extLst>
              <a:ext uri="{FF2B5EF4-FFF2-40B4-BE49-F238E27FC236}">
                <a16:creationId xmlns:a16="http://schemas.microsoft.com/office/drawing/2014/main" id="{E7AA5003-C1D4-44A8-AA34-9D9121B3C983}"/>
              </a:ext>
            </a:extLst>
          </p:cNvPr>
          <p:cNvSpPr>
            <a:spLocks noEditPoints="1"/>
          </p:cNvSpPr>
          <p:nvPr/>
        </p:nvSpPr>
        <p:spPr bwMode="auto">
          <a:xfrm>
            <a:off x="685800" y="1693884"/>
            <a:ext cx="4591572" cy="4841833"/>
          </a:xfrm>
          <a:custGeom>
            <a:avLst/>
            <a:gdLst>
              <a:gd name="T0" fmla="*/ 768 w 1152"/>
              <a:gd name="T1" fmla="*/ 192 h 1152"/>
              <a:gd name="T2" fmla="*/ 576 w 1152"/>
              <a:gd name="T3" fmla="*/ 0 h 1152"/>
              <a:gd name="T4" fmla="*/ 384 w 1152"/>
              <a:gd name="T5" fmla="*/ 192 h 1152"/>
              <a:gd name="T6" fmla="*/ 409 w 1152"/>
              <a:gd name="T7" fmla="*/ 287 h 1152"/>
              <a:gd name="T8" fmla="*/ 576 w 1152"/>
              <a:gd name="T9" fmla="*/ 577 h 1152"/>
              <a:gd name="T10" fmla="*/ 743 w 1152"/>
              <a:gd name="T11" fmla="*/ 287 h 1152"/>
              <a:gd name="T12" fmla="*/ 768 w 1152"/>
              <a:gd name="T13" fmla="*/ 192 h 1152"/>
              <a:gd name="T14" fmla="*/ 576 w 1152"/>
              <a:gd name="T15" fmla="*/ 96 h 1152"/>
              <a:gd name="T16" fmla="*/ 672 w 1152"/>
              <a:gd name="T17" fmla="*/ 192 h 1152"/>
              <a:gd name="T18" fmla="*/ 576 w 1152"/>
              <a:gd name="T19" fmla="*/ 288 h 1152"/>
              <a:gd name="T20" fmla="*/ 480 w 1152"/>
              <a:gd name="T21" fmla="*/ 192 h 1152"/>
              <a:gd name="T22" fmla="*/ 576 w 1152"/>
              <a:gd name="T23" fmla="*/ 96 h 1152"/>
              <a:gd name="T24" fmla="*/ 1152 w 1152"/>
              <a:gd name="T25" fmla="*/ 576 h 1152"/>
              <a:gd name="T26" fmla="*/ 1152 w 1152"/>
              <a:gd name="T27" fmla="*/ 1152 h 1152"/>
              <a:gd name="T28" fmla="*/ 864 w 1152"/>
              <a:gd name="T29" fmla="*/ 1056 h 1152"/>
              <a:gd name="T30" fmla="*/ 576 w 1152"/>
              <a:gd name="T31" fmla="*/ 1152 h 1152"/>
              <a:gd name="T32" fmla="*/ 288 w 1152"/>
              <a:gd name="T33" fmla="*/ 1056 h 1152"/>
              <a:gd name="T34" fmla="*/ 0 w 1152"/>
              <a:gd name="T35" fmla="*/ 1152 h 1152"/>
              <a:gd name="T36" fmla="*/ 1 w 1152"/>
              <a:gd name="T37" fmla="*/ 577 h 1152"/>
              <a:gd name="T38" fmla="*/ 288 w 1152"/>
              <a:gd name="T39" fmla="*/ 481 h 1152"/>
              <a:gd name="T40" fmla="*/ 576 w 1152"/>
              <a:gd name="T41" fmla="*/ 576 h 1152"/>
              <a:gd name="T42" fmla="*/ 864 w 1152"/>
              <a:gd name="T43" fmla="*/ 480 h 1152"/>
              <a:gd name="T44" fmla="*/ 1152 w 1152"/>
              <a:gd name="T45" fmla="*/ 576 h 1152"/>
              <a:gd name="T46" fmla="*/ 432 w 1152"/>
              <a:gd name="T47" fmla="*/ 815 h 1152"/>
              <a:gd name="T48" fmla="*/ 448 w 1152"/>
              <a:gd name="T49" fmla="*/ 749 h 1152"/>
              <a:gd name="T50" fmla="*/ 480 w 1152"/>
              <a:gd name="T51" fmla="*/ 781 h 1152"/>
              <a:gd name="T52" fmla="*/ 480 w 1152"/>
              <a:gd name="T53" fmla="*/ 646 h 1152"/>
              <a:gd name="T54" fmla="*/ 344 w 1152"/>
              <a:gd name="T55" fmla="*/ 646 h 1152"/>
              <a:gd name="T56" fmla="*/ 378 w 1152"/>
              <a:gd name="T57" fmla="*/ 680 h 1152"/>
              <a:gd name="T58" fmla="*/ 336 w 1152"/>
              <a:gd name="T59" fmla="*/ 815 h 1152"/>
              <a:gd name="T60" fmla="*/ 576 w 1152"/>
              <a:gd name="T61" fmla="*/ 1055 h 1152"/>
              <a:gd name="T62" fmla="*/ 576 w 1152"/>
              <a:gd name="T63" fmla="*/ 959 h 1152"/>
              <a:gd name="T64" fmla="*/ 432 w 1152"/>
              <a:gd name="T65" fmla="*/ 815 h 1152"/>
              <a:gd name="T66" fmla="*/ 816 w 1152"/>
              <a:gd name="T67" fmla="*/ 815 h 1152"/>
              <a:gd name="T68" fmla="*/ 576 w 1152"/>
              <a:gd name="T69" fmla="*/ 575 h 1152"/>
              <a:gd name="T70" fmla="*/ 576 w 1152"/>
              <a:gd name="T71" fmla="*/ 671 h 1152"/>
              <a:gd name="T72" fmla="*/ 720 w 1152"/>
              <a:gd name="T73" fmla="*/ 815 h 1152"/>
              <a:gd name="T74" fmla="*/ 704 w 1152"/>
              <a:gd name="T75" fmla="*/ 881 h 1152"/>
              <a:gd name="T76" fmla="*/ 672 w 1152"/>
              <a:gd name="T77" fmla="*/ 849 h 1152"/>
              <a:gd name="T78" fmla="*/ 672 w 1152"/>
              <a:gd name="T79" fmla="*/ 985 h 1152"/>
              <a:gd name="T80" fmla="*/ 808 w 1152"/>
              <a:gd name="T81" fmla="*/ 985 h 1152"/>
              <a:gd name="T82" fmla="*/ 774 w 1152"/>
              <a:gd name="T83" fmla="*/ 951 h 1152"/>
              <a:gd name="T84" fmla="*/ 816 w 1152"/>
              <a:gd name="T85" fmla="*/ 815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52" h="1152">
                <a:moveTo>
                  <a:pt x="768" y="192"/>
                </a:moveTo>
                <a:cubicBezTo>
                  <a:pt x="768" y="86"/>
                  <a:pt x="682" y="0"/>
                  <a:pt x="576" y="0"/>
                </a:cubicBezTo>
                <a:cubicBezTo>
                  <a:pt x="470" y="0"/>
                  <a:pt x="384" y="86"/>
                  <a:pt x="384" y="192"/>
                </a:cubicBezTo>
                <a:cubicBezTo>
                  <a:pt x="384" y="227"/>
                  <a:pt x="393" y="259"/>
                  <a:pt x="409" y="287"/>
                </a:cubicBezTo>
                <a:cubicBezTo>
                  <a:pt x="576" y="577"/>
                  <a:pt x="576" y="577"/>
                  <a:pt x="576" y="577"/>
                </a:cubicBezTo>
                <a:cubicBezTo>
                  <a:pt x="743" y="287"/>
                  <a:pt x="743" y="287"/>
                  <a:pt x="743" y="287"/>
                </a:cubicBezTo>
                <a:cubicBezTo>
                  <a:pt x="759" y="259"/>
                  <a:pt x="768" y="227"/>
                  <a:pt x="768" y="192"/>
                </a:cubicBezTo>
                <a:close/>
                <a:moveTo>
                  <a:pt x="576" y="96"/>
                </a:moveTo>
                <a:cubicBezTo>
                  <a:pt x="629" y="96"/>
                  <a:pt x="672" y="139"/>
                  <a:pt x="672" y="192"/>
                </a:cubicBezTo>
                <a:cubicBezTo>
                  <a:pt x="672" y="245"/>
                  <a:pt x="629" y="288"/>
                  <a:pt x="576" y="288"/>
                </a:cubicBezTo>
                <a:cubicBezTo>
                  <a:pt x="523" y="288"/>
                  <a:pt x="480" y="245"/>
                  <a:pt x="480" y="192"/>
                </a:cubicBezTo>
                <a:cubicBezTo>
                  <a:pt x="480" y="139"/>
                  <a:pt x="523" y="96"/>
                  <a:pt x="576" y="96"/>
                </a:cubicBezTo>
                <a:close/>
                <a:moveTo>
                  <a:pt x="1152" y="576"/>
                </a:moveTo>
                <a:cubicBezTo>
                  <a:pt x="1152" y="1152"/>
                  <a:pt x="1152" y="1152"/>
                  <a:pt x="1152" y="1152"/>
                </a:cubicBezTo>
                <a:cubicBezTo>
                  <a:pt x="864" y="1056"/>
                  <a:pt x="864" y="1056"/>
                  <a:pt x="864" y="1056"/>
                </a:cubicBezTo>
                <a:cubicBezTo>
                  <a:pt x="576" y="1152"/>
                  <a:pt x="576" y="1152"/>
                  <a:pt x="576" y="1152"/>
                </a:cubicBezTo>
                <a:cubicBezTo>
                  <a:pt x="288" y="1056"/>
                  <a:pt x="288" y="1056"/>
                  <a:pt x="288" y="1056"/>
                </a:cubicBezTo>
                <a:cubicBezTo>
                  <a:pt x="0" y="1152"/>
                  <a:pt x="0" y="1152"/>
                  <a:pt x="0" y="1152"/>
                </a:cubicBezTo>
                <a:cubicBezTo>
                  <a:pt x="1" y="577"/>
                  <a:pt x="1" y="577"/>
                  <a:pt x="1" y="577"/>
                </a:cubicBezTo>
                <a:cubicBezTo>
                  <a:pt x="288" y="481"/>
                  <a:pt x="288" y="481"/>
                  <a:pt x="288" y="481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864" y="480"/>
                  <a:pt x="864" y="480"/>
                  <a:pt x="864" y="480"/>
                </a:cubicBezTo>
                <a:lnTo>
                  <a:pt x="1152" y="576"/>
                </a:lnTo>
                <a:close/>
                <a:moveTo>
                  <a:pt x="432" y="815"/>
                </a:moveTo>
                <a:cubicBezTo>
                  <a:pt x="432" y="792"/>
                  <a:pt x="438" y="769"/>
                  <a:pt x="448" y="749"/>
                </a:cubicBezTo>
                <a:cubicBezTo>
                  <a:pt x="480" y="781"/>
                  <a:pt x="480" y="781"/>
                  <a:pt x="480" y="781"/>
                </a:cubicBezTo>
                <a:cubicBezTo>
                  <a:pt x="480" y="646"/>
                  <a:pt x="480" y="646"/>
                  <a:pt x="480" y="646"/>
                </a:cubicBezTo>
                <a:cubicBezTo>
                  <a:pt x="344" y="646"/>
                  <a:pt x="344" y="646"/>
                  <a:pt x="344" y="646"/>
                </a:cubicBezTo>
                <a:cubicBezTo>
                  <a:pt x="378" y="680"/>
                  <a:pt x="378" y="680"/>
                  <a:pt x="378" y="680"/>
                </a:cubicBezTo>
                <a:cubicBezTo>
                  <a:pt x="352" y="718"/>
                  <a:pt x="336" y="765"/>
                  <a:pt x="336" y="815"/>
                </a:cubicBezTo>
                <a:cubicBezTo>
                  <a:pt x="336" y="948"/>
                  <a:pt x="443" y="1055"/>
                  <a:pt x="576" y="1055"/>
                </a:cubicBezTo>
                <a:cubicBezTo>
                  <a:pt x="576" y="959"/>
                  <a:pt x="576" y="959"/>
                  <a:pt x="576" y="959"/>
                </a:cubicBezTo>
                <a:cubicBezTo>
                  <a:pt x="496" y="959"/>
                  <a:pt x="432" y="895"/>
                  <a:pt x="432" y="815"/>
                </a:cubicBezTo>
                <a:close/>
                <a:moveTo>
                  <a:pt x="816" y="815"/>
                </a:moveTo>
                <a:cubicBezTo>
                  <a:pt x="816" y="683"/>
                  <a:pt x="709" y="575"/>
                  <a:pt x="576" y="575"/>
                </a:cubicBezTo>
                <a:cubicBezTo>
                  <a:pt x="576" y="671"/>
                  <a:pt x="576" y="671"/>
                  <a:pt x="576" y="671"/>
                </a:cubicBezTo>
                <a:cubicBezTo>
                  <a:pt x="656" y="671"/>
                  <a:pt x="720" y="736"/>
                  <a:pt x="720" y="815"/>
                </a:cubicBezTo>
                <a:cubicBezTo>
                  <a:pt x="720" y="839"/>
                  <a:pt x="714" y="862"/>
                  <a:pt x="704" y="881"/>
                </a:cubicBezTo>
                <a:cubicBezTo>
                  <a:pt x="672" y="849"/>
                  <a:pt x="672" y="849"/>
                  <a:pt x="672" y="849"/>
                </a:cubicBezTo>
                <a:cubicBezTo>
                  <a:pt x="672" y="985"/>
                  <a:pt x="672" y="985"/>
                  <a:pt x="672" y="985"/>
                </a:cubicBezTo>
                <a:cubicBezTo>
                  <a:pt x="808" y="985"/>
                  <a:pt x="808" y="985"/>
                  <a:pt x="808" y="985"/>
                </a:cubicBezTo>
                <a:cubicBezTo>
                  <a:pt x="774" y="951"/>
                  <a:pt x="774" y="951"/>
                  <a:pt x="774" y="951"/>
                </a:cubicBezTo>
                <a:cubicBezTo>
                  <a:pt x="800" y="913"/>
                  <a:pt x="816" y="866"/>
                  <a:pt x="816" y="81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Title 26">
            <a:extLst>
              <a:ext uri="{FF2B5EF4-FFF2-40B4-BE49-F238E27FC236}">
                <a16:creationId xmlns:a16="http://schemas.microsoft.com/office/drawing/2014/main" id="{BDDA9CDC-6E31-4638-B94B-06D20EBA7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Go Explore!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E509BF6-1893-4755-B3AF-EB091FDB243C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D240B51-D2F0-4445-86BA-4B78C5DCDB8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C0259E-9431-46D4-8E79-D16C311BADEF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A0CF6B8-5751-4618-BF37-B50FF636C044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9482A62-DB46-42CC-8EFC-FFF8B6E87EB1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D3C437A-6BD7-4BF3-9A50-47A80FF677F0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85160DA-274A-4971-8C88-5A6D38AE1804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82CC6F5-0CD4-4733-8A13-1CF5886626F8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9A5D59D-7542-42F3-827F-1F885280E86C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247BC3D-B549-44CA-B6C7-77620095DCB5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314002B-0CB9-40FD-9E27-E84165EA0326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0EAB0E-BA35-4F09-9A4D-7A94799FA08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99D2D6E-4E88-43AB-A45C-6A170379DE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F5117A6-FCC4-4B08-9F14-E815251916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2A08D9F-07B9-45CC-8EC0-8D5E7B16AA41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05C8DE-9A28-4F09-83FF-BA0A0624E7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013AFD2-F5FA-4C45-89E8-8969F90640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CB48EC3-B389-4ED0-975C-7F83465FD2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55EEDC6-4048-4B79-96CB-54C02B3E5B4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6EB10B4-DCDC-4311-911B-5EFC24B94CD0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D0C9BD6-45FE-410B-985F-4A48E3D1BD3E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0AC0B86-2C8C-4187-8819-BB2475C5474E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BCFBCC7-F61D-4BAE-8FB9-4CC4E5D09C6E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B5F5C97-E38D-41B5-B02E-4997BFE6EED5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B1D9103-F8AA-4667-8F59-9B6AEDD858C6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B73D7CF-120B-433A-A236-1AA9D0019E73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B5FE6A9-AD6F-4C33-B188-08EBDF21E070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5B8CC1C-C4B4-483F-9B79-972969470ED5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AFA30E7-CE09-48FA-AAA6-1CF0C22A006E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00689EB-48F8-48B8-B518-4B5A492F4CAD}"/>
              </a:ext>
            </a:extLst>
          </p:cNvPr>
          <p:cNvGrpSpPr/>
          <p:nvPr/>
        </p:nvGrpSpPr>
        <p:grpSpPr>
          <a:xfrm>
            <a:off x="5464274" y="1821142"/>
            <a:ext cx="8822551" cy="1118848"/>
            <a:chOff x="5464274" y="1418641"/>
            <a:chExt cx="8822551" cy="11188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737D550-8644-4247-A6E1-9A182AB043BC}"/>
                </a:ext>
              </a:extLst>
            </p:cNvPr>
            <p:cNvSpPr txBox="1"/>
            <p:nvPr/>
          </p:nvSpPr>
          <p:spPr>
            <a:xfrm>
              <a:off x="6770024" y="1488701"/>
              <a:ext cx="7516801" cy="9787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/>
                <a:t>Create a workspace and drop in the </a:t>
              </a:r>
              <a:br>
                <a:rPr lang="en-GB" b="1" dirty="0"/>
              </a:br>
              <a:r>
                <a:rPr lang="en-GB" b="1" dirty="0"/>
                <a:t>last request you received from your client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93EF1D2-3475-4EC2-AE38-59AEE58B4357}"/>
                </a:ext>
              </a:extLst>
            </p:cNvPr>
            <p:cNvGrpSpPr/>
            <p:nvPr/>
          </p:nvGrpSpPr>
          <p:grpSpPr>
            <a:xfrm>
              <a:off x="5464274" y="1418641"/>
              <a:ext cx="1118848" cy="1118848"/>
              <a:chOff x="5464274" y="1418641"/>
              <a:chExt cx="1118848" cy="1118848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4D8963F4-3682-4FCB-AD2C-28111DB9D8BD}"/>
                  </a:ext>
                </a:extLst>
              </p:cNvPr>
              <p:cNvSpPr/>
              <p:nvPr/>
            </p:nvSpPr>
            <p:spPr>
              <a:xfrm>
                <a:off x="5464274" y="1418641"/>
                <a:ext cx="1118848" cy="111884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37" name="Freeform 121">
                <a:extLst>
                  <a:ext uri="{FF2B5EF4-FFF2-40B4-BE49-F238E27FC236}">
                    <a16:creationId xmlns:a16="http://schemas.microsoft.com/office/drawing/2014/main" id="{6596B58C-D972-48FA-BB13-359B1CF4B0A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544956" y="1698331"/>
                <a:ext cx="957485" cy="559469"/>
              </a:xfrm>
              <a:custGeom>
                <a:avLst/>
                <a:gdLst>
                  <a:gd name="T0" fmla="*/ 576 w 1152"/>
                  <a:gd name="T1" fmla="*/ 571 h 672"/>
                  <a:gd name="T2" fmla="*/ 336 w 1152"/>
                  <a:gd name="T3" fmla="*/ 672 h 672"/>
                  <a:gd name="T4" fmla="*/ 0 w 1152"/>
                  <a:gd name="T5" fmla="*/ 336 h 672"/>
                  <a:gd name="T6" fmla="*/ 336 w 1152"/>
                  <a:gd name="T7" fmla="*/ 0 h 672"/>
                  <a:gd name="T8" fmla="*/ 576 w 1152"/>
                  <a:gd name="T9" fmla="*/ 101 h 672"/>
                  <a:gd name="T10" fmla="*/ 480 w 1152"/>
                  <a:gd name="T11" fmla="*/ 336 h 672"/>
                  <a:gd name="T12" fmla="*/ 576 w 1152"/>
                  <a:gd name="T13" fmla="*/ 571 h 672"/>
                  <a:gd name="T14" fmla="*/ 816 w 1152"/>
                  <a:gd name="T15" fmla="*/ 0 h 672"/>
                  <a:gd name="T16" fmla="*/ 576 w 1152"/>
                  <a:gd name="T17" fmla="*/ 101 h 672"/>
                  <a:gd name="T18" fmla="*/ 672 w 1152"/>
                  <a:gd name="T19" fmla="*/ 336 h 672"/>
                  <a:gd name="T20" fmla="*/ 576 w 1152"/>
                  <a:gd name="T21" fmla="*/ 571 h 672"/>
                  <a:gd name="T22" fmla="*/ 816 w 1152"/>
                  <a:gd name="T23" fmla="*/ 672 h 672"/>
                  <a:gd name="T24" fmla="*/ 1152 w 1152"/>
                  <a:gd name="T25" fmla="*/ 336 h 672"/>
                  <a:gd name="T26" fmla="*/ 816 w 1152"/>
                  <a:gd name="T27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2" h="672">
                    <a:moveTo>
                      <a:pt x="576" y="571"/>
                    </a:moveTo>
                    <a:cubicBezTo>
                      <a:pt x="515" y="633"/>
                      <a:pt x="430" y="672"/>
                      <a:pt x="336" y="672"/>
                    </a:cubicBezTo>
                    <a:cubicBezTo>
                      <a:pt x="150" y="672"/>
                      <a:pt x="0" y="522"/>
                      <a:pt x="0" y="336"/>
                    </a:cubicBezTo>
                    <a:cubicBezTo>
                      <a:pt x="0" y="150"/>
                      <a:pt x="150" y="0"/>
                      <a:pt x="336" y="0"/>
                    </a:cubicBezTo>
                    <a:cubicBezTo>
                      <a:pt x="430" y="0"/>
                      <a:pt x="515" y="39"/>
                      <a:pt x="576" y="101"/>
                    </a:cubicBezTo>
                    <a:cubicBezTo>
                      <a:pt x="517" y="162"/>
                      <a:pt x="480" y="244"/>
                      <a:pt x="480" y="336"/>
                    </a:cubicBezTo>
                    <a:cubicBezTo>
                      <a:pt x="480" y="428"/>
                      <a:pt x="517" y="510"/>
                      <a:pt x="576" y="571"/>
                    </a:cubicBezTo>
                    <a:close/>
                    <a:moveTo>
                      <a:pt x="816" y="0"/>
                    </a:moveTo>
                    <a:cubicBezTo>
                      <a:pt x="722" y="0"/>
                      <a:pt x="637" y="39"/>
                      <a:pt x="576" y="101"/>
                    </a:cubicBezTo>
                    <a:cubicBezTo>
                      <a:pt x="635" y="162"/>
                      <a:pt x="672" y="244"/>
                      <a:pt x="672" y="336"/>
                    </a:cubicBezTo>
                    <a:cubicBezTo>
                      <a:pt x="672" y="428"/>
                      <a:pt x="635" y="510"/>
                      <a:pt x="576" y="571"/>
                    </a:cubicBezTo>
                    <a:cubicBezTo>
                      <a:pt x="637" y="633"/>
                      <a:pt x="722" y="672"/>
                      <a:pt x="816" y="672"/>
                    </a:cubicBezTo>
                    <a:cubicBezTo>
                      <a:pt x="1002" y="672"/>
                      <a:pt x="1152" y="522"/>
                      <a:pt x="1152" y="336"/>
                    </a:cubicBezTo>
                    <a:cubicBezTo>
                      <a:pt x="1152" y="150"/>
                      <a:pt x="1002" y="0"/>
                      <a:pt x="8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045F20F7-CB5B-43C8-B9C3-FECC0858C2D4}"/>
              </a:ext>
            </a:extLst>
          </p:cNvPr>
          <p:cNvSpPr txBox="1"/>
          <p:nvPr/>
        </p:nvSpPr>
        <p:spPr>
          <a:xfrm>
            <a:off x="6770024" y="3778065"/>
            <a:ext cx="7604069" cy="9787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Develop your client’s Digital Blueprint or</a:t>
            </a:r>
            <a:br>
              <a:rPr lang="en-GB" b="1" dirty="0"/>
            </a:br>
            <a:r>
              <a:rPr lang="en-GB" b="1" dirty="0"/>
              <a:t>Innovation Agenda inside Digital Explorer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EB48BF8-4DBC-46DC-80F9-9386867D2698}"/>
              </a:ext>
            </a:extLst>
          </p:cNvPr>
          <p:cNvGrpSpPr/>
          <p:nvPr/>
        </p:nvGrpSpPr>
        <p:grpSpPr>
          <a:xfrm>
            <a:off x="5464274" y="3708005"/>
            <a:ext cx="1118848" cy="1118848"/>
            <a:chOff x="5464274" y="3708005"/>
            <a:chExt cx="1118848" cy="1118848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62A4C87A-3782-4301-ACBC-ACD115C467C1}"/>
                </a:ext>
              </a:extLst>
            </p:cNvPr>
            <p:cNvSpPr/>
            <p:nvPr/>
          </p:nvSpPr>
          <p:spPr>
            <a:xfrm>
              <a:off x="5464274" y="3708005"/>
              <a:ext cx="1118848" cy="111884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F1A0893-3D1D-416B-8599-CE9EC5C5DFF8}"/>
                </a:ext>
              </a:extLst>
            </p:cNvPr>
            <p:cNvGrpSpPr/>
            <p:nvPr/>
          </p:nvGrpSpPr>
          <p:grpSpPr>
            <a:xfrm>
              <a:off x="5612536" y="3856267"/>
              <a:ext cx="822325" cy="822325"/>
              <a:chOff x="8373533" y="48106486"/>
              <a:chExt cx="822325" cy="822325"/>
            </a:xfrm>
            <a:solidFill>
              <a:schemeClr val="bg1"/>
            </a:solidFill>
          </p:grpSpPr>
          <p:sp>
            <p:nvSpPr>
              <p:cNvPr id="46" name="Freeform 74">
                <a:extLst>
                  <a:ext uri="{FF2B5EF4-FFF2-40B4-BE49-F238E27FC236}">
                    <a16:creationId xmlns:a16="http://schemas.microsoft.com/office/drawing/2014/main" id="{C59F0EB2-99B4-4E16-966E-B7A31D102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3533" y="48243011"/>
                <a:ext cx="685800" cy="685800"/>
              </a:xfrm>
              <a:custGeom>
                <a:avLst/>
                <a:gdLst>
                  <a:gd name="T0" fmla="*/ 480 w 960"/>
                  <a:gd name="T1" fmla="*/ 768 h 960"/>
                  <a:gd name="T2" fmla="*/ 768 w 960"/>
                  <a:gd name="T3" fmla="*/ 480 h 960"/>
                  <a:gd name="T4" fmla="*/ 960 w 960"/>
                  <a:gd name="T5" fmla="*/ 480 h 960"/>
                  <a:gd name="T6" fmla="*/ 480 w 960"/>
                  <a:gd name="T7" fmla="*/ 960 h 960"/>
                  <a:gd name="T8" fmla="*/ 0 w 960"/>
                  <a:gd name="T9" fmla="*/ 480 h 960"/>
                  <a:gd name="T10" fmla="*/ 480 w 960"/>
                  <a:gd name="T11" fmla="*/ 0 h 960"/>
                  <a:gd name="T12" fmla="*/ 480 w 960"/>
                  <a:gd name="T13" fmla="*/ 192 h 960"/>
                  <a:gd name="T14" fmla="*/ 192 w 960"/>
                  <a:gd name="T15" fmla="*/ 480 h 960"/>
                  <a:gd name="T16" fmla="*/ 480 w 960"/>
                  <a:gd name="T17" fmla="*/ 768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960">
                    <a:moveTo>
                      <a:pt x="480" y="768"/>
                    </a:moveTo>
                    <a:cubicBezTo>
                      <a:pt x="639" y="768"/>
                      <a:pt x="768" y="639"/>
                      <a:pt x="768" y="480"/>
                    </a:cubicBezTo>
                    <a:cubicBezTo>
                      <a:pt x="960" y="480"/>
                      <a:pt x="960" y="480"/>
                      <a:pt x="960" y="480"/>
                    </a:cubicBezTo>
                    <a:cubicBezTo>
                      <a:pt x="960" y="745"/>
                      <a:pt x="745" y="960"/>
                      <a:pt x="480" y="960"/>
                    </a:cubicBezTo>
                    <a:cubicBezTo>
                      <a:pt x="215" y="960"/>
                      <a:pt x="0" y="745"/>
                      <a:pt x="0" y="480"/>
                    </a:cubicBezTo>
                    <a:cubicBezTo>
                      <a:pt x="0" y="215"/>
                      <a:pt x="215" y="0"/>
                      <a:pt x="480" y="0"/>
                    </a:cubicBezTo>
                    <a:cubicBezTo>
                      <a:pt x="480" y="192"/>
                      <a:pt x="480" y="192"/>
                      <a:pt x="480" y="192"/>
                    </a:cubicBezTo>
                    <a:cubicBezTo>
                      <a:pt x="321" y="192"/>
                      <a:pt x="192" y="321"/>
                      <a:pt x="192" y="480"/>
                    </a:cubicBezTo>
                    <a:cubicBezTo>
                      <a:pt x="192" y="639"/>
                      <a:pt x="321" y="768"/>
                      <a:pt x="480" y="76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75">
                <a:extLst>
                  <a:ext uri="{FF2B5EF4-FFF2-40B4-BE49-F238E27FC236}">
                    <a16:creationId xmlns:a16="http://schemas.microsoft.com/office/drawing/2014/main" id="{EC3481ED-1BF2-4A72-9A4B-95B12D16F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2958" y="48106486"/>
                <a:ext cx="342900" cy="342900"/>
              </a:xfrm>
              <a:custGeom>
                <a:avLst/>
                <a:gdLst>
                  <a:gd name="T0" fmla="*/ 0 w 480"/>
                  <a:gd name="T1" fmla="*/ 0 h 480"/>
                  <a:gd name="T2" fmla="*/ 0 w 480"/>
                  <a:gd name="T3" fmla="*/ 192 h 480"/>
                  <a:gd name="T4" fmla="*/ 288 w 480"/>
                  <a:gd name="T5" fmla="*/ 480 h 480"/>
                  <a:gd name="T6" fmla="*/ 480 w 480"/>
                  <a:gd name="T7" fmla="*/ 480 h 480"/>
                  <a:gd name="T8" fmla="*/ 0 w 480"/>
                  <a:gd name="T9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0" h="480">
                    <a:moveTo>
                      <a:pt x="0" y="0"/>
                    </a:moveTo>
                    <a:cubicBezTo>
                      <a:pt x="0" y="192"/>
                      <a:pt x="0" y="192"/>
                      <a:pt x="0" y="192"/>
                    </a:cubicBezTo>
                    <a:cubicBezTo>
                      <a:pt x="159" y="192"/>
                      <a:pt x="288" y="321"/>
                      <a:pt x="288" y="480"/>
                    </a:cubicBezTo>
                    <a:cubicBezTo>
                      <a:pt x="480" y="480"/>
                      <a:pt x="480" y="480"/>
                      <a:pt x="480" y="480"/>
                    </a:cubicBezTo>
                    <a:cubicBezTo>
                      <a:pt x="480" y="215"/>
                      <a:pt x="265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Oval 76">
                <a:extLst>
                  <a:ext uri="{FF2B5EF4-FFF2-40B4-BE49-F238E27FC236}">
                    <a16:creationId xmlns:a16="http://schemas.microsoft.com/office/drawing/2014/main" id="{7FC249B3-8C06-4490-AD37-9ACC64532A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48171" y="48517649"/>
                <a:ext cx="136525" cy="1365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0248D413-00FD-4DDC-A166-AA733A86B0D5}"/>
              </a:ext>
            </a:extLst>
          </p:cNvPr>
          <p:cNvSpPr txBox="1"/>
          <p:nvPr/>
        </p:nvSpPr>
        <p:spPr>
          <a:xfrm>
            <a:off x="6770024" y="5817260"/>
            <a:ext cx="4230645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Share your solutions…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BA51C93-F7C9-4F2F-B5C4-03F86D76A61A}"/>
              </a:ext>
            </a:extLst>
          </p:cNvPr>
          <p:cNvSpPr/>
          <p:nvPr/>
        </p:nvSpPr>
        <p:spPr>
          <a:xfrm>
            <a:off x="5544956" y="5524808"/>
            <a:ext cx="1118848" cy="11188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352990A-1F08-4137-BDAF-EAA2A9A8813B}"/>
              </a:ext>
            </a:extLst>
          </p:cNvPr>
          <p:cNvGrpSpPr/>
          <p:nvPr/>
        </p:nvGrpSpPr>
        <p:grpSpPr>
          <a:xfrm>
            <a:off x="5693218" y="5672276"/>
            <a:ext cx="822325" cy="823912"/>
            <a:chOff x="9857502" y="48105692"/>
            <a:chExt cx="822325" cy="823912"/>
          </a:xfrm>
          <a:solidFill>
            <a:schemeClr val="bg1"/>
          </a:solidFill>
        </p:grpSpPr>
        <p:sp>
          <p:nvSpPr>
            <p:cNvPr id="58" name="Freeform 80">
              <a:extLst>
                <a:ext uri="{FF2B5EF4-FFF2-40B4-BE49-F238E27FC236}">
                  <a16:creationId xmlns:a16="http://schemas.microsoft.com/office/drawing/2014/main" id="{71F4C7A8-46CB-4F78-B44A-66B039549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81">
              <a:extLst>
                <a:ext uri="{FF2B5EF4-FFF2-40B4-BE49-F238E27FC236}">
                  <a16:creationId xmlns:a16="http://schemas.microsoft.com/office/drawing/2014/main" id="{418736FC-1D1B-4CF3-A75D-CEA83F2AA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82">
              <a:extLst>
                <a:ext uri="{FF2B5EF4-FFF2-40B4-BE49-F238E27FC236}">
                  <a16:creationId xmlns:a16="http://schemas.microsoft.com/office/drawing/2014/main" id="{42A43AE7-EBEC-4D55-827C-9F5AA3FAC1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4602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97831-4085-4FBB-ACC0-C425FE93B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Back-up slides</a:t>
            </a:r>
            <a:br>
              <a:rPr lang="en-GB" dirty="0"/>
            </a:b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0F58B7-79E6-4FC1-86F9-D818414D7E8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3113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D449D7A-BCC0-44B5-94A6-0BE9FA0447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7997552" cy="5121276"/>
          </a:xfrm>
        </p:spPr>
        <p:txBody>
          <a:bodyPr/>
          <a:lstStyle/>
          <a:p>
            <a:r>
              <a:rPr lang="en-GB" dirty="0"/>
              <a:t>David Steve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DXC Distinguished Archite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Creator, Product Owner and Architect for DXC Digital Explor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Based in the U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5D0889-6F62-4392-9B2C-C8DF0E20A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07F23BA-605A-4F91-9E90-EAF746ACE17B}"/>
              </a:ext>
            </a:extLst>
          </p:cNvPr>
          <p:cNvGrpSpPr/>
          <p:nvPr/>
        </p:nvGrpSpPr>
        <p:grpSpPr>
          <a:xfrm>
            <a:off x="1050504" y="4470561"/>
            <a:ext cx="1616942" cy="432048"/>
            <a:chOff x="906489" y="4470561"/>
            <a:chExt cx="1616942" cy="432048"/>
          </a:xfrm>
        </p:grpSpPr>
        <p:pic>
          <p:nvPicPr>
            <p:cNvPr id="3074" name="Picture 2" descr="Image result for linkedin icon">
              <a:hlinkClick r:id="rId2"/>
              <a:extLst>
                <a:ext uri="{FF2B5EF4-FFF2-40B4-BE49-F238E27FC236}">
                  <a16:creationId xmlns:a16="http://schemas.microsoft.com/office/drawing/2014/main" id="{6A66F061-E06D-483C-A565-3C2A76B04E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489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Image result for twitter icon">
              <a:hlinkClick r:id="rId4"/>
              <a:extLst>
                <a:ext uri="{FF2B5EF4-FFF2-40B4-BE49-F238E27FC236}">
                  <a16:creationId xmlns:a16="http://schemas.microsoft.com/office/drawing/2014/main" id="{C7BDED7F-1C80-445D-95DB-26085F65C3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8936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8" name="Picture 6" descr="Image result for instagram icon">
              <a:hlinkClick r:id="rId6"/>
              <a:extLst>
                <a:ext uri="{FF2B5EF4-FFF2-40B4-BE49-F238E27FC236}">
                  <a16:creationId xmlns:a16="http://schemas.microsoft.com/office/drawing/2014/main" id="{45BCC8AA-E5CB-4122-B126-EC5ADBED25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1383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Picture 2">
            <a:hlinkClick r:id="rId8"/>
            <a:extLst>
              <a:ext uri="{FF2B5EF4-FFF2-40B4-BE49-F238E27FC236}">
                <a16:creationId xmlns:a16="http://schemas.microsoft.com/office/drawing/2014/main" id="{D3DBC118-6E50-46EB-B91A-1D6100340511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2827845" y="4470561"/>
            <a:ext cx="432048" cy="43204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9ED6144-A4EA-4CD6-9D6B-9FDF92F308A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59775" y="2055811"/>
            <a:ext cx="3368849" cy="3561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5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E2D88B88-EB87-450B-9B8B-2468F02D6EAD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83" name="Freeform 74">
              <a:extLst>
                <a:ext uri="{FF2B5EF4-FFF2-40B4-BE49-F238E27FC236}">
                  <a16:creationId xmlns:a16="http://schemas.microsoft.com/office/drawing/2014/main" id="{3AEF8C74-EB68-4B88-9C22-AA4C03B78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75">
              <a:extLst>
                <a:ext uri="{FF2B5EF4-FFF2-40B4-BE49-F238E27FC236}">
                  <a16:creationId xmlns:a16="http://schemas.microsoft.com/office/drawing/2014/main" id="{3280DDCB-2F60-4BDC-B66E-7482245E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Oval 76">
              <a:extLst>
                <a:ext uri="{FF2B5EF4-FFF2-40B4-BE49-F238E27FC236}">
                  <a16:creationId xmlns:a16="http://schemas.microsoft.com/office/drawing/2014/main" id="{504758E2-D5B9-4780-976D-700733759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0" name="Freeform 58">
            <a:extLst>
              <a:ext uri="{FF2B5EF4-FFF2-40B4-BE49-F238E27FC236}">
                <a16:creationId xmlns:a16="http://schemas.microsoft.com/office/drawing/2014/main" id="{E74ABD01-0570-456D-A8E8-45DF7A6B7F3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E8910A1-8F2F-4EC2-A201-919A6CFD347F}"/>
              </a:ext>
            </a:extLst>
          </p:cNvPr>
          <p:cNvGrpSpPr/>
          <p:nvPr/>
        </p:nvGrpSpPr>
        <p:grpSpPr>
          <a:xfrm>
            <a:off x="10151202" y="3570522"/>
            <a:ext cx="4201433" cy="3100370"/>
            <a:chOff x="10151202" y="4002571"/>
            <a:chExt cx="4201433" cy="310037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A3ECA2-367C-45D5-8E97-02A886B9CC58}"/>
                </a:ext>
              </a:extLst>
            </p:cNvPr>
            <p:cNvGrpSpPr/>
            <p:nvPr/>
          </p:nvGrpSpPr>
          <p:grpSpPr>
            <a:xfrm>
              <a:off x="11615659" y="4002571"/>
              <a:ext cx="2736976" cy="3100370"/>
              <a:chOff x="11615659" y="4002571"/>
              <a:chExt cx="2736976" cy="3100370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11615659" y="4435400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olution</a:t>
                </a: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Oval 70"/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/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0" name="TextBox 59"/>
          <p:cNvSpPr txBox="1"/>
          <p:nvPr/>
        </p:nvSpPr>
        <p:spPr>
          <a:xfrm>
            <a:off x="786453" y="615847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97357" y="61071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7230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4575040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5980168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41094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4606234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187708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09EAFB27-0CFC-4B73-95E1-2FCB76355124}"/>
              </a:ext>
            </a:extLst>
          </p:cNvPr>
          <p:cNvGrpSpPr/>
          <p:nvPr/>
        </p:nvGrpSpPr>
        <p:grpSpPr>
          <a:xfrm>
            <a:off x="2394053" y="4569219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419004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69F6E1-B8F5-4039-B96D-710A2CF7A21C}"/>
              </a:ext>
            </a:extLst>
          </p:cNvPr>
          <p:cNvGrpSpPr/>
          <p:nvPr/>
        </p:nvGrpSpPr>
        <p:grpSpPr>
          <a:xfrm>
            <a:off x="3550072" y="3853351"/>
            <a:ext cx="3732943" cy="2636278"/>
            <a:chOff x="3550072" y="4285400"/>
            <a:chExt cx="3732943" cy="2636278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gital Blueprint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E4D7428-A9B1-40AF-9A9F-39C4282D2495}"/>
              </a:ext>
            </a:extLst>
          </p:cNvPr>
          <p:cNvGrpSpPr/>
          <p:nvPr/>
        </p:nvGrpSpPr>
        <p:grpSpPr>
          <a:xfrm>
            <a:off x="8191609" y="3364279"/>
            <a:ext cx="2520758" cy="3594267"/>
            <a:chOff x="8191609" y="3796328"/>
            <a:chExt cx="2520758" cy="3594267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a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ent CMO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96EF05A-7A56-47C6-8C27-6D7A572EA097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C1782920-7785-4BC6-A082-281E79A73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55B0E42-E1F7-464E-8052-1711A87EA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82">
              <a:extLst>
                <a:ext uri="{FF2B5EF4-FFF2-40B4-BE49-F238E27FC236}">
                  <a16:creationId xmlns:a16="http://schemas.microsoft.com/office/drawing/2014/main" id="{CC286DAF-DD95-49A0-8CE8-DCE3D823E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819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58" grpId="0"/>
      <p:bldP spid="51" grpId="0"/>
      <p:bldP spid="5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31975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21855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64154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474637" y="63641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387905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gital Blueprint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abler</a:t>
                </a: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92B7D2F-D04D-45A7-BD73-28675D3D311F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115" name="Freeform 74">
              <a:extLst>
                <a:ext uri="{FF2B5EF4-FFF2-40B4-BE49-F238E27FC236}">
                  <a16:creationId xmlns:a16="http://schemas.microsoft.com/office/drawing/2014/main" id="{DEA5EAD1-F637-4219-B3F1-B0766E033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5">
              <a:extLst>
                <a:ext uri="{FF2B5EF4-FFF2-40B4-BE49-F238E27FC236}">
                  <a16:creationId xmlns:a16="http://schemas.microsoft.com/office/drawing/2014/main" id="{082D0C18-6018-43D5-B3E1-C5276EAFB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Oval 76">
              <a:extLst>
                <a:ext uri="{FF2B5EF4-FFF2-40B4-BE49-F238E27FC236}">
                  <a16:creationId xmlns:a16="http://schemas.microsoft.com/office/drawing/2014/main" id="{4BE1CF45-D850-4D12-9AD9-373F82500E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8" name="Freeform 58">
            <a:extLst>
              <a:ext uri="{FF2B5EF4-FFF2-40B4-BE49-F238E27FC236}">
                <a16:creationId xmlns:a16="http://schemas.microsoft.com/office/drawing/2014/main" id="{1239A33F-204E-4B47-93E1-2F2063AC09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1F62B7F4-9FBA-4D78-95B3-5CD4BF3D6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47DF68FB-1F53-419E-9297-CFD3C625ED61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121" name="Freeform 80">
              <a:extLst>
                <a:ext uri="{FF2B5EF4-FFF2-40B4-BE49-F238E27FC236}">
                  <a16:creationId xmlns:a16="http://schemas.microsoft.com/office/drawing/2014/main" id="{1F1295EC-3405-4AFC-A7DF-68E2DE535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81">
              <a:extLst>
                <a:ext uri="{FF2B5EF4-FFF2-40B4-BE49-F238E27FC236}">
                  <a16:creationId xmlns:a16="http://schemas.microsoft.com/office/drawing/2014/main" id="{0A5A2B5D-A641-465A-9B30-B77776CD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ectangle 82">
              <a:extLst>
                <a:ext uri="{FF2B5EF4-FFF2-40B4-BE49-F238E27FC236}">
                  <a16:creationId xmlns:a16="http://schemas.microsoft.com/office/drawing/2014/main" id="{6282B921-1BA3-49F8-A07D-AEB5FB0E3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84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Playbook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Rectangle: Rounded Corners 239">
            <a:extLst>
              <a:ext uri="{FF2B5EF4-FFF2-40B4-BE49-F238E27FC236}">
                <a16:creationId xmlns:a16="http://schemas.microsoft.com/office/drawing/2014/main" id="{7B2B3E8C-15C6-48B1-B8C9-EBBF65C5D126}"/>
              </a:ext>
            </a:extLst>
          </p:cNvPr>
          <p:cNvSpPr/>
          <p:nvPr/>
        </p:nvSpPr>
        <p:spPr>
          <a:xfrm>
            <a:off x="10957617" y="641118"/>
            <a:ext cx="3509233" cy="3047022"/>
          </a:xfrm>
          <a:prstGeom prst="roundRect">
            <a:avLst>
              <a:gd name="adj" fmla="val 6872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b="1" i="1" dirty="0">
                <a:solidFill>
                  <a:schemeClr val="tx1"/>
                </a:solidFill>
              </a:rPr>
              <a:t>FY20 Development Plans</a:t>
            </a:r>
          </a:p>
        </p:txBody>
      </p: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79566BDD-0C82-4567-95E2-3E930D14CA2D}"/>
              </a:ext>
            </a:extLst>
          </p:cNvPr>
          <p:cNvCxnSpPr>
            <a:cxnSpLocks/>
          </p:cNvCxnSpPr>
          <p:nvPr/>
        </p:nvCxnSpPr>
        <p:spPr bwMode="auto">
          <a:xfrm>
            <a:off x="3504724" y="2263485"/>
            <a:ext cx="8125974" cy="7900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chemeClr val="accent4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58" name="Rectangle: Rounded Corners 257">
            <a:extLst>
              <a:ext uri="{FF2B5EF4-FFF2-40B4-BE49-F238E27FC236}">
                <a16:creationId xmlns:a16="http://schemas.microsoft.com/office/drawing/2014/main" id="{FDF60D3C-295C-4036-83A6-7C2E5FF8C06C}"/>
              </a:ext>
            </a:extLst>
          </p:cNvPr>
          <p:cNvSpPr/>
          <p:nvPr/>
        </p:nvSpPr>
        <p:spPr>
          <a:xfrm>
            <a:off x="10241239" y="4937000"/>
            <a:ext cx="3898106" cy="3047011"/>
          </a:xfrm>
          <a:prstGeom prst="roundRect">
            <a:avLst>
              <a:gd name="adj" fmla="val 687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GB" sz="1400" b="1" i="1" dirty="0">
                <a:solidFill>
                  <a:schemeClr val="tx1"/>
                </a:solidFill>
              </a:rPr>
              <a:t>Accelerated Solution Development</a:t>
            </a: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6F9DE23B-3100-446D-9D7A-FA928D065931}"/>
              </a:ext>
            </a:extLst>
          </p:cNvPr>
          <p:cNvCxnSpPr>
            <a:cxnSpLocks/>
            <a:endCxn id="146" idx="1"/>
          </p:cNvCxnSpPr>
          <p:nvPr/>
        </p:nvCxnSpPr>
        <p:spPr bwMode="auto">
          <a:xfrm flipV="1">
            <a:off x="6310265" y="4682213"/>
            <a:ext cx="4808157" cy="4328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F13E7CA5-3A5C-4788-88FD-0F261B8591C0}"/>
              </a:ext>
            </a:extLst>
          </p:cNvPr>
          <p:cNvSpPr/>
          <p:nvPr/>
        </p:nvSpPr>
        <p:spPr>
          <a:xfrm flipH="1" flipV="1">
            <a:off x="5101539" y="1176902"/>
            <a:ext cx="3596813" cy="1096403"/>
          </a:xfrm>
          <a:prstGeom prst="roundRect">
            <a:avLst>
              <a:gd name="adj" fmla="val 20142"/>
            </a:avLst>
          </a:prstGeom>
          <a:noFill/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2800" dirty="0"/>
          </a:p>
        </p:txBody>
      </p:sp>
      <p:sp>
        <p:nvSpPr>
          <p:cNvPr id="128" name="Arrow: Chevron 127">
            <a:extLst>
              <a:ext uri="{FF2B5EF4-FFF2-40B4-BE49-F238E27FC236}">
                <a16:creationId xmlns:a16="http://schemas.microsoft.com/office/drawing/2014/main" id="{8AD580D8-1B9F-4FD6-9624-8426BACB47C8}"/>
              </a:ext>
            </a:extLst>
          </p:cNvPr>
          <p:cNvSpPr/>
          <p:nvPr/>
        </p:nvSpPr>
        <p:spPr>
          <a:xfrm rot="10800000">
            <a:off x="7886108" y="1024076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29" name="Arrow: Chevron 128">
            <a:extLst>
              <a:ext uri="{FF2B5EF4-FFF2-40B4-BE49-F238E27FC236}">
                <a16:creationId xmlns:a16="http://schemas.microsoft.com/office/drawing/2014/main" id="{3105F7DD-668D-4469-96BD-1FBEB41E6808}"/>
              </a:ext>
            </a:extLst>
          </p:cNvPr>
          <p:cNvSpPr/>
          <p:nvPr/>
        </p:nvSpPr>
        <p:spPr>
          <a:xfrm rot="10800000">
            <a:off x="5646148" y="1017948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1" name="Arrow: Chevron 130">
            <a:extLst>
              <a:ext uri="{FF2B5EF4-FFF2-40B4-BE49-F238E27FC236}">
                <a16:creationId xmlns:a16="http://schemas.microsoft.com/office/drawing/2014/main" id="{F08B7471-1D38-42BF-AE1D-851D01872309}"/>
              </a:ext>
            </a:extLst>
          </p:cNvPr>
          <p:cNvSpPr/>
          <p:nvPr/>
        </p:nvSpPr>
        <p:spPr>
          <a:xfrm rot="10800000">
            <a:off x="6766128" y="1019538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78C40899-8ADC-404C-ACD6-21BBA38EE70A}"/>
              </a:ext>
            </a:extLst>
          </p:cNvPr>
          <p:cNvCxnSpPr>
            <a:cxnSpLocks/>
            <a:stCxn id="159" idx="2"/>
            <a:endCxn id="125" idx="0"/>
          </p:cNvCxnSpPr>
          <p:nvPr/>
        </p:nvCxnSpPr>
        <p:spPr bwMode="auto">
          <a:xfrm>
            <a:off x="5090328" y="3612924"/>
            <a:ext cx="0" cy="3369255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48DB6587-0F9B-4DEA-A5C9-A5FFDA676A2A}"/>
              </a:ext>
            </a:extLst>
          </p:cNvPr>
          <p:cNvCxnSpPr>
            <a:cxnSpLocks/>
            <a:stCxn id="160" idx="2"/>
            <a:endCxn id="164" idx="0"/>
          </p:cNvCxnSpPr>
          <p:nvPr/>
        </p:nvCxnSpPr>
        <p:spPr bwMode="auto">
          <a:xfrm>
            <a:off x="5939998" y="3612924"/>
            <a:ext cx="0" cy="2194835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856E7EA7-5881-4D0D-81FE-03B3096562B9}"/>
              </a:ext>
            </a:extLst>
          </p:cNvPr>
          <p:cNvSpPr txBox="1"/>
          <p:nvPr/>
        </p:nvSpPr>
        <p:spPr>
          <a:xfrm rot="18880238">
            <a:off x="7198698" y="3696731"/>
            <a:ext cx="20865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Create Innovation Agenda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65FB19B6-1CBF-4C33-91AD-F45A21EDCFB1}"/>
              </a:ext>
            </a:extLst>
          </p:cNvPr>
          <p:cNvSpPr/>
          <p:nvPr/>
        </p:nvSpPr>
        <p:spPr>
          <a:xfrm rot="18900000">
            <a:off x="13163850" y="5016167"/>
            <a:ext cx="33502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Pilot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D456ACCD-5E4A-4A55-8103-9541FE960D01}"/>
              </a:ext>
            </a:extLst>
          </p:cNvPr>
          <p:cNvSpPr/>
          <p:nvPr/>
        </p:nvSpPr>
        <p:spPr>
          <a:xfrm rot="-2700000">
            <a:off x="11549946" y="4854758"/>
            <a:ext cx="8143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Production</a:t>
            </a:r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9A1ED0CC-A63B-4E94-8509-8E5EC552C0FC}"/>
              </a:ext>
            </a:extLst>
          </p:cNvPr>
          <p:cNvSpPr/>
          <p:nvPr/>
        </p:nvSpPr>
        <p:spPr>
          <a:xfrm>
            <a:off x="7455839" y="4634916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72981A99-2ADF-4AEE-B874-D536C75F4AB0}"/>
              </a:ext>
            </a:extLst>
          </p:cNvPr>
          <p:cNvSpPr/>
          <p:nvPr/>
        </p:nvSpPr>
        <p:spPr>
          <a:xfrm>
            <a:off x="11585304" y="5399823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DD67B01E-B0A0-4274-B80B-E448476BB903}"/>
              </a:ext>
            </a:extLst>
          </p:cNvPr>
          <p:cNvSpPr/>
          <p:nvPr/>
        </p:nvSpPr>
        <p:spPr>
          <a:xfrm>
            <a:off x="13112420" y="5395405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0E04FF7A-4D04-405D-B560-60B850E411EA}"/>
              </a:ext>
            </a:extLst>
          </p:cNvPr>
          <p:cNvCxnSpPr>
            <a:cxnSpLocks/>
          </p:cNvCxnSpPr>
          <p:nvPr/>
        </p:nvCxnSpPr>
        <p:spPr bwMode="auto">
          <a:xfrm>
            <a:off x="8115666" y="2259677"/>
            <a:ext cx="1201552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24641292-67F1-4D4D-BC74-AADDC3CDC8DF}"/>
              </a:ext>
            </a:extLst>
          </p:cNvPr>
          <p:cNvSpPr txBox="1"/>
          <p:nvPr/>
        </p:nvSpPr>
        <p:spPr>
          <a:xfrm>
            <a:off x="8837796" y="1586604"/>
            <a:ext cx="1893467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GB" sz="1200" b="1" dirty="0"/>
              <a:t>Client Summary Repor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1542F4-49CF-45A5-8A62-BB61520D3CD1}"/>
              </a:ext>
            </a:extLst>
          </p:cNvPr>
          <p:cNvGrpSpPr/>
          <p:nvPr/>
        </p:nvGrpSpPr>
        <p:grpSpPr>
          <a:xfrm>
            <a:off x="8560441" y="1587192"/>
            <a:ext cx="275822" cy="275822"/>
            <a:chOff x="8904127" y="1572492"/>
            <a:chExt cx="275822" cy="275822"/>
          </a:xfrm>
        </p:grpSpPr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578F1C73-B2FB-4166-A244-752B1CD180D7}"/>
                </a:ext>
              </a:extLst>
            </p:cNvPr>
            <p:cNvSpPr/>
            <p:nvPr/>
          </p:nvSpPr>
          <p:spPr>
            <a:xfrm rot="16200000">
              <a:off x="8904127" y="1572492"/>
              <a:ext cx="275822" cy="275822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800" dirty="0"/>
            </a:p>
          </p:txBody>
        </p:sp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A641E67-1527-47DA-A40E-AD135E79E245}"/>
                </a:ext>
              </a:extLst>
            </p:cNvPr>
            <p:cNvSpPr/>
            <p:nvPr/>
          </p:nvSpPr>
          <p:spPr>
            <a:xfrm>
              <a:off x="8990415" y="1658780"/>
              <a:ext cx="103247" cy="103247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9B42816F-0344-45AB-AEBE-CD7A40DB387E}"/>
              </a:ext>
            </a:extLst>
          </p:cNvPr>
          <p:cNvCxnSpPr>
            <a:cxnSpLocks/>
          </p:cNvCxnSpPr>
          <p:nvPr/>
        </p:nvCxnSpPr>
        <p:spPr bwMode="auto">
          <a:xfrm>
            <a:off x="10915619" y="2263485"/>
            <a:ext cx="2110513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9" name="Oval 148">
            <a:extLst>
              <a:ext uri="{FF2B5EF4-FFF2-40B4-BE49-F238E27FC236}">
                <a16:creationId xmlns:a16="http://schemas.microsoft.com/office/drawing/2014/main" id="{79DB1744-F837-4679-83C2-28084780C3A5}"/>
              </a:ext>
            </a:extLst>
          </p:cNvPr>
          <p:cNvSpPr/>
          <p:nvPr/>
        </p:nvSpPr>
        <p:spPr>
          <a:xfrm rot="16200000">
            <a:off x="12386235" y="2135394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/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25CDC458-FE72-44C5-BBF7-228C77F903FD}"/>
              </a:ext>
            </a:extLst>
          </p:cNvPr>
          <p:cNvSpPr txBox="1"/>
          <p:nvPr/>
        </p:nvSpPr>
        <p:spPr>
          <a:xfrm rot="-2700000">
            <a:off x="12240016" y="1292966"/>
            <a:ext cx="20986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Client Roadmap Summary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A9651F82-35C8-494B-9B54-A55E87923B77}"/>
              </a:ext>
            </a:extLst>
          </p:cNvPr>
          <p:cNvSpPr txBox="1"/>
          <p:nvPr/>
        </p:nvSpPr>
        <p:spPr>
          <a:xfrm rot="-2700000">
            <a:off x="8507437" y="3560217"/>
            <a:ext cx="1976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Outline innovation ideas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760C4AC2-80A7-4E0D-9D8F-B7D128102459}"/>
              </a:ext>
            </a:extLst>
          </p:cNvPr>
          <p:cNvSpPr txBox="1"/>
          <p:nvPr/>
        </p:nvSpPr>
        <p:spPr>
          <a:xfrm rot="-2700000">
            <a:off x="7859075" y="3674012"/>
            <a:ext cx="21323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Review Recommendations</a:t>
            </a: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F20EBF6B-FD40-4504-89FB-4332F6EC7F54}"/>
              </a:ext>
            </a:extLst>
          </p:cNvPr>
          <p:cNvSpPr/>
          <p:nvPr/>
        </p:nvSpPr>
        <p:spPr>
          <a:xfrm flipH="1" flipV="1">
            <a:off x="10704902" y="3940432"/>
            <a:ext cx="819809" cy="736805"/>
          </a:xfrm>
          <a:prstGeom prst="roundRect">
            <a:avLst/>
          </a:prstGeom>
          <a:noFill/>
          <a:ln w="1270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2800"/>
          </a:p>
        </p:txBody>
      </p:sp>
      <p:sp>
        <p:nvSpPr>
          <p:cNvPr id="147" name="Arrow: Chevron 146">
            <a:extLst>
              <a:ext uri="{FF2B5EF4-FFF2-40B4-BE49-F238E27FC236}">
                <a16:creationId xmlns:a16="http://schemas.microsoft.com/office/drawing/2014/main" id="{4C07BDDE-F39A-44C9-8447-FB82DA835D08}"/>
              </a:ext>
            </a:extLst>
          </p:cNvPr>
          <p:cNvSpPr/>
          <p:nvPr/>
        </p:nvSpPr>
        <p:spPr>
          <a:xfrm rot="10800000">
            <a:off x="10927934" y="3740126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59CFE3A8-9151-4319-A882-DC75120BF7F9}"/>
              </a:ext>
            </a:extLst>
          </p:cNvPr>
          <p:cNvSpPr/>
          <p:nvPr/>
        </p:nvSpPr>
        <p:spPr>
          <a:xfrm>
            <a:off x="13526512" y="2770354"/>
            <a:ext cx="809592" cy="43183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SFDC</a:t>
            </a:r>
          </a:p>
        </p:txBody>
      </p: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C947BF45-005D-4FEB-A791-4E0844E7AD5A}"/>
              </a:ext>
            </a:extLst>
          </p:cNvPr>
          <p:cNvCxnSpPr>
            <a:cxnSpLocks/>
          </p:cNvCxnSpPr>
          <p:nvPr/>
        </p:nvCxnSpPr>
        <p:spPr bwMode="auto">
          <a:xfrm flipH="1">
            <a:off x="12035010" y="2986270"/>
            <a:ext cx="1491502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rgbClr val="66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2F6A9FC5-5BBE-4AF6-8495-C23BC3D32B4D}"/>
              </a:ext>
            </a:extLst>
          </p:cNvPr>
          <p:cNvCxnSpPr>
            <a:cxnSpLocks/>
          </p:cNvCxnSpPr>
          <p:nvPr/>
        </p:nvCxnSpPr>
        <p:spPr bwMode="auto">
          <a:xfrm flipH="1">
            <a:off x="11361420" y="2986270"/>
            <a:ext cx="1045977" cy="0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rgbClr val="66666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B95D4842-547E-476C-9CA7-38270C7C6168}"/>
              </a:ext>
            </a:extLst>
          </p:cNvPr>
          <p:cNvCxnSpPr>
            <a:cxnSpLocks/>
          </p:cNvCxnSpPr>
          <p:nvPr/>
        </p:nvCxnSpPr>
        <p:spPr bwMode="auto">
          <a:xfrm flipV="1">
            <a:off x="4907875" y="4686540"/>
            <a:ext cx="1739265" cy="2780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chemeClr val="accent5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3337A0E6-F7AF-41DC-B1C4-5AD050B037B6}"/>
              </a:ext>
            </a:extLst>
          </p:cNvPr>
          <p:cNvSpPr/>
          <p:nvPr/>
        </p:nvSpPr>
        <p:spPr>
          <a:xfrm flipH="1" flipV="1">
            <a:off x="11276921" y="5445066"/>
            <a:ext cx="2213480" cy="9650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0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2800"/>
          </a:p>
        </p:txBody>
      </p: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65106F68-CBDA-47F8-B5C1-736C89E0C3CA}"/>
              </a:ext>
            </a:extLst>
          </p:cNvPr>
          <p:cNvCxnSpPr>
            <a:cxnSpLocks/>
            <a:stCxn id="181" idx="2"/>
            <a:endCxn id="216" idx="0"/>
          </p:cNvCxnSpPr>
          <p:nvPr/>
        </p:nvCxnSpPr>
        <p:spPr bwMode="auto">
          <a:xfrm flipH="1">
            <a:off x="7507462" y="4824451"/>
            <a:ext cx="1" cy="2147230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859C7709-6910-4F73-AB84-F19CA05C296F}"/>
              </a:ext>
            </a:extLst>
          </p:cNvPr>
          <p:cNvCxnSpPr>
            <a:cxnSpLocks/>
            <a:stCxn id="209" idx="2"/>
            <a:endCxn id="218" idx="0"/>
          </p:cNvCxnSpPr>
          <p:nvPr/>
        </p:nvCxnSpPr>
        <p:spPr bwMode="auto">
          <a:xfrm>
            <a:off x="8207091" y="4824451"/>
            <a:ext cx="0" cy="965222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4651F24-737E-426E-B634-856B46FE6B20}"/>
              </a:ext>
            </a:extLst>
          </p:cNvPr>
          <p:cNvCxnSpPr>
            <a:cxnSpLocks/>
            <a:stCxn id="110" idx="4"/>
            <a:endCxn id="144" idx="0"/>
          </p:cNvCxnSpPr>
          <p:nvPr/>
        </p:nvCxnSpPr>
        <p:spPr bwMode="auto">
          <a:xfrm flipH="1">
            <a:off x="2667622" y="6065495"/>
            <a:ext cx="882" cy="906186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A872BAEF-9AD7-47CD-A0B5-DBB82D799B25}"/>
              </a:ext>
            </a:extLst>
          </p:cNvPr>
          <p:cNvCxnSpPr>
            <a:cxnSpLocks/>
            <a:stCxn id="104" idx="4"/>
            <a:endCxn id="143" idx="0"/>
          </p:cNvCxnSpPr>
          <p:nvPr/>
        </p:nvCxnSpPr>
        <p:spPr bwMode="auto">
          <a:xfrm flipH="1">
            <a:off x="2110431" y="6065495"/>
            <a:ext cx="882" cy="906186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02" name="Rectangle 201">
            <a:extLst>
              <a:ext uri="{FF2B5EF4-FFF2-40B4-BE49-F238E27FC236}">
                <a16:creationId xmlns:a16="http://schemas.microsoft.com/office/drawing/2014/main" id="{CF275782-801C-498C-846C-0A40476671CF}"/>
              </a:ext>
            </a:extLst>
          </p:cNvPr>
          <p:cNvSpPr/>
          <p:nvPr/>
        </p:nvSpPr>
        <p:spPr>
          <a:xfrm rot="18900000">
            <a:off x="10896364" y="6660357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Concept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48F1544-8DE6-40B1-BB5A-1E9A1EA1BA1D}"/>
              </a:ext>
            </a:extLst>
          </p:cNvPr>
          <p:cNvSpPr/>
          <p:nvPr/>
        </p:nvSpPr>
        <p:spPr>
          <a:xfrm>
            <a:off x="163550" y="6893676"/>
            <a:ext cx="1549766" cy="43183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Trends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32ED7D9-BF24-4BDD-94D2-5D11DBDD6E33}"/>
              </a:ext>
            </a:extLst>
          </p:cNvPr>
          <p:cNvCxnSpPr>
            <a:cxnSpLocks/>
          </p:cNvCxnSpPr>
          <p:nvPr/>
        </p:nvCxnSpPr>
        <p:spPr bwMode="auto">
          <a:xfrm>
            <a:off x="1713316" y="7109592"/>
            <a:ext cx="12706388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3" name="Oval 142">
            <a:extLst>
              <a:ext uri="{FF2B5EF4-FFF2-40B4-BE49-F238E27FC236}">
                <a16:creationId xmlns:a16="http://schemas.microsoft.com/office/drawing/2014/main" id="{92AF4AFB-7A90-4DC0-948C-E4199A2BD00F}"/>
              </a:ext>
            </a:extLst>
          </p:cNvPr>
          <p:cNvSpPr/>
          <p:nvPr/>
        </p:nvSpPr>
        <p:spPr>
          <a:xfrm>
            <a:off x="1972520" y="697168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F599C975-3EFC-4770-AD10-7A80C745683D}"/>
              </a:ext>
            </a:extLst>
          </p:cNvPr>
          <p:cNvSpPr/>
          <p:nvPr/>
        </p:nvSpPr>
        <p:spPr>
          <a:xfrm>
            <a:off x="2529711" y="697168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16" name="Oval 215">
            <a:extLst>
              <a:ext uri="{FF2B5EF4-FFF2-40B4-BE49-F238E27FC236}">
                <a16:creationId xmlns:a16="http://schemas.microsoft.com/office/drawing/2014/main" id="{724670E0-6E5F-4CA7-8A80-9624382AD4AE}"/>
              </a:ext>
            </a:extLst>
          </p:cNvPr>
          <p:cNvSpPr/>
          <p:nvPr/>
        </p:nvSpPr>
        <p:spPr>
          <a:xfrm>
            <a:off x="7369551" y="697168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A381BB00-4B4D-4BB8-B398-F1AADFD56333}"/>
              </a:ext>
            </a:extLst>
          </p:cNvPr>
          <p:cNvSpPr/>
          <p:nvPr/>
        </p:nvSpPr>
        <p:spPr>
          <a:xfrm>
            <a:off x="4003435" y="4470623"/>
            <a:ext cx="1436684" cy="431833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Roadmap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2A4069BE-36F8-43F8-A665-132489B1572A}"/>
              </a:ext>
            </a:extLst>
          </p:cNvPr>
          <p:cNvSpPr/>
          <p:nvPr/>
        </p:nvSpPr>
        <p:spPr>
          <a:xfrm rot="16200000">
            <a:off x="7369552" y="4548629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AB3FE2A-650A-4AEE-B6CA-883E7C1385DF}"/>
              </a:ext>
            </a:extLst>
          </p:cNvPr>
          <p:cNvSpPr/>
          <p:nvPr/>
        </p:nvSpPr>
        <p:spPr>
          <a:xfrm>
            <a:off x="163550" y="5711668"/>
            <a:ext cx="1549766" cy="431833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Solutions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75E7A85D-10A0-42C7-A2B5-5FF1C8AB6F9B}"/>
              </a:ext>
            </a:extLst>
          </p:cNvPr>
          <p:cNvCxnSpPr>
            <a:cxnSpLocks/>
          </p:cNvCxnSpPr>
          <p:nvPr/>
        </p:nvCxnSpPr>
        <p:spPr bwMode="auto">
          <a:xfrm>
            <a:off x="1713316" y="5912826"/>
            <a:ext cx="9563605" cy="29517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4" name="Oval 163">
            <a:extLst>
              <a:ext uri="{FF2B5EF4-FFF2-40B4-BE49-F238E27FC236}">
                <a16:creationId xmlns:a16="http://schemas.microsoft.com/office/drawing/2014/main" id="{C866E171-7EE4-4765-9A02-60300CCAF3DE}"/>
              </a:ext>
            </a:extLst>
          </p:cNvPr>
          <p:cNvSpPr/>
          <p:nvPr/>
        </p:nvSpPr>
        <p:spPr>
          <a:xfrm>
            <a:off x="5802087" y="5807759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B2A5695F-30CF-4E88-8315-A3062A714D06}"/>
              </a:ext>
            </a:extLst>
          </p:cNvPr>
          <p:cNvSpPr/>
          <p:nvPr/>
        </p:nvSpPr>
        <p:spPr>
          <a:xfrm>
            <a:off x="8069180" y="5789673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54D1131C-F5A5-48E7-B782-9131E045ACCE}"/>
              </a:ext>
            </a:extLst>
          </p:cNvPr>
          <p:cNvSpPr/>
          <p:nvPr/>
        </p:nvSpPr>
        <p:spPr>
          <a:xfrm rot="-2700000">
            <a:off x="12469359" y="6765374"/>
            <a:ext cx="71814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Prototype</a:t>
            </a:r>
          </a:p>
        </p:txBody>
      </p:sp>
      <p:sp>
        <p:nvSpPr>
          <p:cNvPr id="304" name="Arrow: Chevron 303">
            <a:extLst>
              <a:ext uri="{FF2B5EF4-FFF2-40B4-BE49-F238E27FC236}">
                <a16:creationId xmlns:a16="http://schemas.microsoft.com/office/drawing/2014/main" id="{0200BCC9-074F-4A8E-9BB2-8EF383279965}"/>
              </a:ext>
            </a:extLst>
          </p:cNvPr>
          <p:cNvSpPr/>
          <p:nvPr/>
        </p:nvSpPr>
        <p:spPr>
          <a:xfrm>
            <a:off x="12248046" y="6257277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5" name="Arrow: Chevron 314">
            <a:extLst>
              <a:ext uri="{FF2B5EF4-FFF2-40B4-BE49-F238E27FC236}">
                <a16:creationId xmlns:a16="http://schemas.microsoft.com/office/drawing/2014/main" id="{16DDDEF2-24C2-4C51-AF59-F7AC599F7302}"/>
              </a:ext>
            </a:extLst>
          </p:cNvPr>
          <p:cNvSpPr/>
          <p:nvPr/>
        </p:nvSpPr>
        <p:spPr>
          <a:xfrm rot="16200000">
            <a:off x="13370281" y="5774758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D5C7DCE4-2E24-469F-B228-02C81C7B95FD}"/>
              </a:ext>
            </a:extLst>
          </p:cNvPr>
          <p:cNvSpPr/>
          <p:nvPr/>
        </p:nvSpPr>
        <p:spPr>
          <a:xfrm>
            <a:off x="11499016" y="6272192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8920A952-50F7-48E7-878A-FB5FAB790BB4}"/>
              </a:ext>
            </a:extLst>
          </p:cNvPr>
          <p:cNvSpPr/>
          <p:nvPr/>
        </p:nvSpPr>
        <p:spPr>
          <a:xfrm>
            <a:off x="13043922" y="628009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F977A610-E701-4A63-9417-FD2B6A12B3DE}"/>
              </a:ext>
            </a:extLst>
          </p:cNvPr>
          <p:cNvCxnSpPr>
            <a:cxnSpLocks/>
          </p:cNvCxnSpPr>
          <p:nvPr/>
        </p:nvCxnSpPr>
        <p:spPr bwMode="auto">
          <a:xfrm flipH="1">
            <a:off x="10704902" y="6110086"/>
            <a:ext cx="5775" cy="867893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51" name="Oval 150">
            <a:extLst>
              <a:ext uri="{FF2B5EF4-FFF2-40B4-BE49-F238E27FC236}">
                <a16:creationId xmlns:a16="http://schemas.microsoft.com/office/drawing/2014/main" id="{B31C7CB7-395F-48F3-BF81-B74057930FEF}"/>
              </a:ext>
            </a:extLst>
          </p:cNvPr>
          <p:cNvSpPr/>
          <p:nvPr/>
        </p:nvSpPr>
        <p:spPr>
          <a:xfrm>
            <a:off x="11585304" y="6358480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6CA5CF07-223D-47A8-A67F-4D8EC56B7E32}"/>
              </a:ext>
            </a:extLst>
          </p:cNvPr>
          <p:cNvSpPr/>
          <p:nvPr/>
        </p:nvSpPr>
        <p:spPr>
          <a:xfrm>
            <a:off x="13130210" y="6366379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A48CEA42-3630-4B37-929A-FE09DBFA9305}"/>
              </a:ext>
            </a:extLst>
          </p:cNvPr>
          <p:cNvSpPr/>
          <p:nvPr/>
        </p:nvSpPr>
        <p:spPr>
          <a:xfrm>
            <a:off x="4952417" y="6982179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ECB8485-F9D6-48BE-960A-838E6BE1EEC9}"/>
              </a:ext>
            </a:extLst>
          </p:cNvPr>
          <p:cNvCxnSpPr>
            <a:cxnSpLocks/>
            <a:stCxn id="96" idx="2"/>
            <a:endCxn id="110" idx="0"/>
          </p:cNvCxnSpPr>
          <p:nvPr/>
        </p:nvCxnSpPr>
        <p:spPr bwMode="auto">
          <a:xfrm>
            <a:off x="2668210" y="2401397"/>
            <a:ext cx="294" cy="3388276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B8E48AE4-0A59-4A26-BB10-F519D6488CE0}"/>
              </a:ext>
            </a:extLst>
          </p:cNvPr>
          <p:cNvCxnSpPr>
            <a:cxnSpLocks/>
            <a:stCxn id="90" idx="2"/>
            <a:endCxn id="104" idx="0"/>
          </p:cNvCxnSpPr>
          <p:nvPr/>
        </p:nvCxnSpPr>
        <p:spPr bwMode="auto">
          <a:xfrm flipH="1">
            <a:off x="2111313" y="2401397"/>
            <a:ext cx="589" cy="3388276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C561397-B137-488E-96F5-8E715DB2263F}"/>
              </a:ext>
            </a:extLst>
          </p:cNvPr>
          <p:cNvCxnSpPr>
            <a:cxnSpLocks/>
          </p:cNvCxnSpPr>
          <p:nvPr/>
        </p:nvCxnSpPr>
        <p:spPr>
          <a:xfrm flipH="1" flipV="1">
            <a:off x="5082398" y="1711246"/>
            <a:ext cx="15861" cy="1625856"/>
          </a:xfrm>
          <a:prstGeom prst="line">
            <a:avLst/>
          </a:prstGeom>
          <a:noFill/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4753BE50-CDE8-45D9-8607-6233A01FAE0A}"/>
              </a:ext>
            </a:extLst>
          </p:cNvPr>
          <p:cNvSpPr txBox="1"/>
          <p:nvPr/>
        </p:nvSpPr>
        <p:spPr>
          <a:xfrm rot="-2700000">
            <a:off x="1861486" y="1434089"/>
            <a:ext cx="145905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GB" sz="1200" b="1" u="sng" dirty="0"/>
              <a:t>DXC </a:t>
            </a:r>
            <a:r>
              <a:rPr lang="en-GB" sz="1200" b="1" u="sng" dirty="0">
                <a:hlinkClick r:id="rId3"/>
              </a:rPr>
              <a:t>Digital</a:t>
            </a:r>
            <a:r>
              <a:rPr lang="en-GB" sz="1200" b="1" u="sng" dirty="0"/>
              <a:t> Story</a:t>
            </a:r>
          </a:p>
        </p:txBody>
      </p:sp>
      <p:sp>
        <p:nvSpPr>
          <p:cNvPr id="93" name="TextBox 92">
            <a:hlinkClick r:id="rId4"/>
            <a:extLst>
              <a:ext uri="{FF2B5EF4-FFF2-40B4-BE49-F238E27FC236}">
                <a16:creationId xmlns:a16="http://schemas.microsoft.com/office/drawing/2014/main" id="{95977B7E-919C-4BF6-8EBF-36476299297D}"/>
              </a:ext>
            </a:extLst>
          </p:cNvPr>
          <p:cNvSpPr txBox="1"/>
          <p:nvPr/>
        </p:nvSpPr>
        <p:spPr>
          <a:xfrm rot="-2700000">
            <a:off x="2822236" y="1214206"/>
            <a:ext cx="216597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GB" sz="1200" b="1" u="sng" dirty="0"/>
              <a:t>DXC Innovation Flight Plan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7B4DC54-3416-4C06-841E-8441B98B5C1C}"/>
              </a:ext>
            </a:extLst>
          </p:cNvPr>
          <p:cNvSpPr txBox="1"/>
          <p:nvPr/>
        </p:nvSpPr>
        <p:spPr>
          <a:xfrm rot="-2700000">
            <a:off x="2329550" y="1222372"/>
            <a:ext cx="203934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GB" sz="1200" b="1" dirty="0"/>
              <a:t>DXC Industry Showcas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11D9D96-36AB-4C43-910E-F076F7CBE2ED}"/>
              </a:ext>
            </a:extLst>
          </p:cNvPr>
          <p:cNvSpPr/>
          <p:nvPr/>
        </p:nvSpPr>
        <p:spPr>
          <a:xfrm>
            <a:off x="163550" y="2047569"/>
            <a:ext cx="1549766" cy="43183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4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Playbooks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C9BCE0E-6060-49CF-B1CE-8DEFB069B7DD}"/>
              </a:ext>
            </a:extLst>
          </p:cNvPr>
          <p:cNvCxnSpPr>
            <a:cxnSpLocks/>
          </p:cNvCxnSpPr>
          <p:nvPr/>
        </p:nvCxnSpPr>
        <p:spPr bwMode="auto">
          <a:xfrm>
            <a:off x="1713316" y="2263485"/>
            <a:ext cx="2226415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06B971FE-B0D3-4FC5-9A4E-86F22FF91769}"/>
              </a:ext>
            </a:extLst>
          </p:cNvPr>
          <p:cNvSpPr/>
          <p:nvPr/>
        </p:nvSpPr>
        <p:spPr>
          <a:xfrm rot="16200000">
            <a:off x="1973991" y="2125575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9306394A-E2C8-464E-8001-9765B5FC1101}"/>
              </a:ext>
            </a:extLst>
          </p:cNvPr>
          <p:cNvSpPr/>
          <p:nvPr/>
        </p:nvSpPr>
        <p:spPr>
          <a:xfrm rot="16200000">
            <a:off x="2530299" y="2125575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/>
          </a:p>
        </p:txBody>
      </p: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C6D61C31-7265-45DA-AECD-2EB9E3A2AF2F}"/>
              </a:ext>
            </a:extLst>
          </p:cNvPr>
          <p:cNvGrpSpPr/>
          <p:nvPr/>
        </p:nvGrpSpPr>
        <p:grpSpPr>
          <a:xfrm>
            <a:off x="697926" y="1158413"/>
            <a:ext cx="481013" cy="823912"/>
            <a:chOff x="3833818" y="37354842"/>
            <a:chExt cx="481013" cy="823912"/>
          </a:xfrm>
          <a:solidFill>
            <a:schemeClr val="tx1"/>
          </a:solidFill>
        </p:grpSpPr>
        <p:sp>
          <p:nvSpPr>
            <p:cNvPr id="317" name="Oval 87">
              <a:extLst>
                <a:ext uri="{FF2B5EF4-FFF2-40B4-BE49-F238E27FC236}">
                  <a16:creationId xmlns:a16="http://schemas.microsoft.com/office/drawing/2014/main" id="{9A21C319-DAE5-4FE1-86F8-A5F883E90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5268" y="37492954"/>
              <a:ext cx="138113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88">
              <a:extLst>
                <a:ext uri="{FF2B5EF4-FFF2-40B4-BE49-F238E27FC236}">
                  <a16:creationId xmlns:a16="http://schemas.microsoft.com/office/drawing/2014/main" id="{03833C2D-C39B-480B-AD1F-8E2FCE09D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3818" y="37354842"/>
              <a:ext cx="481013" cy="823912"/>
            </a:xfrm>
            <a:custGeom>
              <a:avLst/>
              <a:gdLst>
                <a:gd name="T0" fmla="*/ 633 w 672"/>
                <a:gd name="T1" fmla="*/ 494 h 1152"/>
                <a:gd name="T2" fmla="*/ 672 w 672"/>
                <a:gd name="T3" fmla="*/ 336 h 1152"/>
                <a:gd name="T4" fmla="*/ 336 w 672"/>
                <a:gd name="T5" fmla="*/ 0 h 1152"/>
                <a:gd name="T6" fmla="*/ 0 w 672"/>
                <a:gd name="T7" fmla="*/ 336 h 1152"/>
                <a:gd name="T8" fmla="*/ 39 w 672"/>
                <a:gd name="T9" fmla="*/ 494 h 1152"/>
                <a:gd name="T10" fmla="*/ 39 w 672"/>
                <a:gd name="T11" fmla="*/ 494 h 1152"/>
                <a:gd name="T12" fmla="*/ 336 w 672"/>
                <a:gd name="T13" fmla="*/ 1152 h 1152"/>
                <a:gd name="T14" fmla="*/ 633 w 672"/>
                <a:gd name="T15" fmla="*/ 494 h 1152"/>
                <a:gd name="T16" fmla="*/ 336 w 672"/>
                <a:gd name="T17" fmla="*/ 96 h 1152"/>
                <a:gd name="T18" fmla="*/ 576 w 672"/>
                <a:gd name="T19" fmla="*/ 336 h 1152"/>
                <a:gd name="T20" fmla="*/ 512 w 672"/>
                <a:gd name="T21" fmla="*/ 499 h 1152"/>
                <a:gd name="T22" fmla="*/ 336 w 672"/>
                <a:gd name="T23" fmla="*/ 384 h 1152"/>
                <a:gd name="T24" fmla="*/ 160 w 672"/>
                <a:gd name="T25" fmla="*/ 499 h 1152"/>
                <a:gd name="T26" fmla="*/ 96 w 672"/>
                <a:gd name="T27" fmla="*/ 336 h 1152"/>
                <a:gd name="T28" fmla="*/ 336 w 672"/>
                <a:gd name="T29" fmla="*/ 96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2" h="1152">
                  <a:moveTo>
                    <a:pt x="633" y="494"/>
                  </a:moveTo>
                  <a:cubicBezTo>
                    <a:pt x="658" y="447"/>
                    <a:pt x="672" y="393"/>
                    <a:pt x="672" y="336"/>
                  </a:cubicBezTo>
                  <a:cubicBezTo>
                    <a:pt x="672" y="150"/>
                    <a:pt x="522" y="0"/>
                    <a:pt x="336" y="0"/>
                  </a:cubicBezTo>
                  <a:cubicBezTo>
                    <a:pt x="150" y="0"/>
                    <a:pt x="0" y="150"/>
                    <a:pt x="0" y="336"/>
                  </a:cubicBezTo>
                  <a:cubicBezTo>
                    <a:pt x="0" y="393"/>
                    <a:pt x="14" y="447"/>
                    <a:pt x="39" y="494"/>
                  </a:cubicBezTo>
                  <a:cubicBezTo>
                    <a:pt x="39" y="494"/>
                    <a:pt x="39" y="494"/>
                    <a:pt x="39" y="494"/>
                  </a:cubicBezTo>
                  <a:cubicBezTo>
                    <a:pt x="336" y="1152"/>
                    <a:pt x="336" y="1152"/>
                    <a:pt x="336" y="1152"/>
                  </a:cubicBezTo>
                  <a:cubicBezTo>
                    <a:pt x="633" y="494"/>
                    <a:pt x="633" y="494"/>
                    <a:pt x="633" y="494"/>
                  </a:cubicBezTo>
                  <a:close/>
                  <a:moveTo>
                    <a:pt x="336" y="96"/>
                  </a:moveTo>
                  <a:cubicBezTo>
                    <a:pt x="469" y="96"/>
                    <a:pt x="576" y="203"/>
                    <a:pt x="576" y="336"/>
                  </a:cubicBezTo>
                  <a:cubicBezTo>
                    <a:pt x="576" y="399"/>
                    <a:pt x="552" y="456"/>
                    <a:pt x="512" y="499"/>
                  </a:cubicBezTo>
                  <a:cubicBezTo>
                    <a:pt x="482" y="431"/>
                    <a:pt x="415" y="384"/>
                    <a:pt x="336" y="384"/>
                  </a:cubicBezTo>
                  <a:cubicBezTo>
                    <a:pt x="257" y="384"/>
                    <a:pt x="190" y="431"/>
                    <a:pt x="160" y="499"/>
                  </a:cubicBezTo>
                  <a:cubicBezTo>
                    <a:pt x="120" y="456"/>
                    <a:pt x="96" y="399"/>
                    <a:pt x="96" y="336"/>
                  </a:cubicBezTo>
                  <a:cubicBezTo>
                    <a:pt x="96" y="203"/>
                    <a:pt x="203" y="96"/>
                    <a:pt x="336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9" name="TextBox 318">
            <a:extLst>
              <a:ext uri="{FF2B5EF4-FFF2-40B4-BE49-F238E27FC236}">
                <a16:creationId xmlns:a16="http://schemas.microsoft.com/office/drawing/2014/main" id="{439CD837-B555-4F47-A88E-683AAE8A4759}"/>
              </a:ext>
            </a:extLst>
          </p:cNvPr>
          <p:cNvSpPr txBox="1"/>
          <p:nvPr/>
        </p:nvSpPr>
        <p:spPr>
          <a:xfrm>
            <a:off x="248179" y="707193"/>
            <a:ext cx="13805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/>
              <a:t>Start here</a:t>
            </a:r>
          </a:p>
        </p:txBody>
      </p:sp>
      <p:sp>
        <p:nvSpPr>
          <p:cNvPr id="118" name="TextBox 117">
            <a:hlinkClick r:id="rId5"/>
            <a:extLst>
              <a:ext uri="{FF2B5EF4-FFF2-40B4-BE49-F238E27FC236}">
                <a16:creationId xmlns:a16="http://schemas.microsoft.com/office/drawing/2014/main" id="{54D8FC5E-A413-430F-9020-CB7C87E964E0}"/>
              </a:ext>
            </a:extLst>
          </p:cNvPr>
          <p:cNvSpPr txBox="1"/>
          <p:nvPr/>
        </p:nvSpPr>
        <p:spPr>
          <a:xfrm rot="-2700000">
            <a:off x="2648344" y="3956630"/>
            <a:ext cx="149752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200" b="1" u="sng" dirty="0"/>
              <a:t>Create workspace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5798877-149D-4081-8436-2FAD40A7BB29}"/>
              </a:ext>
            </a:extLst>
          </p:cNvPr>
          <p:cNvSpPr txBox="1"/>
          <p:nvPr/>
        </p:nvSpPr>
        <p:spPr>
          <a:xfrm rot="18900000">
            <a:off x="2948588" y="4182618"/>
            <a:ext cx="196194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 dirty="0"/>
              <a:t>Invite team members</a:t>
            </a:r>
          </a:p>
        </p:txBody>
      </p: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FA62A4B3-E63C-4D35-AB3F-0EBBA758F78E}"/>
              </a:ext>
            </a:extLst>
          </p:cNvPr>
          <p:cNvCxnSpPr>
            <a:cxnSpLocks/>
          </p:cNvCxnSpPr>
          <p:nvPr/>
        </p:nvCxnSpPr>
        <p:spPr bwMode="auto">
          <a:xfrm flipH="1">
            <a:off x="1713320" y="3475013"/>
            <a:ext cx="6226532" cy="9821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A05B146F-2549-4636-A1C7-25DF46E56E15}"/>
              </a:ext>
            </a:extLst>
          </p:cNvPr>
          <p:cNvSpPr/>
          <p:nvPr/>
        </p:nvSpPr>
        <p:spPr>
          <a:xfrm>
            <a:off x="163550" y="3259096"/>
            <a:ext cx="1549766" cy="431833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/>
              <a:t>Workspaces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C55A4EE-97FB-491D-8C02-E12CA121900D}"/>
              </a:ext>
            </a:extLst>
          </p:cNvPr>
          <p:cNvCxnSpPr>
            <a:cxnSpLocks/>
          </p:cNvCxnSpPr>
          <p:nvPr/>
        </p:nvCxnSpPr>
        <p:spPr bwMode="auto">
          <a:xfrm>
            <a:off x="2826523" y="3475013"/>
            <a:ext cx="4488677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>
            <a:extLst>
              <a:ext uri="{FF2B5EF4-FFF2-40B4-BE49-F238E27FC236}">
                <a16:creationId xmlns:a16="http://schemas.microsoft.com/office/drawing/2014/main" id="{078FAB5A-B0D5-4A7B-B45A-1576462A30D2}"/>
              </a:ext>
            </a:extLst>
          </p:cNvPr>
          <p:cNvGrpSpPr/>
          <p:nvPr/>
        </p:nvGrpSpPr>
        <p:grpSpPr>
          <a:xfrm>
            <a:off x="3855662" y="3337101"/>
            <a:ext cx="275822" cy="275822"/>
            <a:chOff x="3855662" y="3430519"/>
            <a:chExt cx="275822" cy="275822"/>
          </a:xfrm>
        </p:grpSpPr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58D0B56C-EBBC-4336-9B4B-47D4D0E614E8}"/>
                </a:ext>
              </a:extLst>
            </p:cNvPr>
            <p:cNvSpPr/>
            <p:nvPr/>
          </p:nvSpPr>
          <p:spPr>
            <a:xfrm rot="16200000">
              <a:off x="3855662" y="3430519"/>
              <a:ext cx="275822" cy="275822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800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83FC0DA8-D5D7-4A98-A988-186A43F6ED65}"/>
                </a:ext>
              </a:extLst>
            </p:cNvPr>
            <p:cNvSpPr/>
            <p:nvPr/>
          </p:nvSpPr>
          <p:spPr>
            <a:xfrm>
              <a:off x="3941950" y="3516806"/>
              <a:ext cx="103247" cy="10324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BC16825D-B96F-44A6-9F64-F5E431E65827}"/>
              </a:ext>
            </a:extLst>
          </p:cNvPr>
          <p:cNvSpPr txBox="1"/>
          <p:nvPr/>
        </p:nvSpPr>
        <p:spPr>
          <a:xfrm rot="18900000">
            <a:off x="4796898" y="2502744"/>
            <a:ext cx="216597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GB" sz="1200" b="1" dirty="0"/>
              <a:t>Analyse Client Information</a:t>
            </a: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689C69F9-2BE6-4184-BFCD-FBF7EF5B9ABC}"/>
              </a:ext>
            </a:extLst>
          </p:cNvPr>
          <p:cNvSpPr/>
          <p:nvPr/>
        </p:nvSpPr>
        <p:spPr>
          <a:xfrm rot="16200000">
            <a:off x="4952417" y="3337102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8F938826-3EC2-4D17-A82D-3A20EDF30073}"/>
              </a:ext>
            </a:extLst>
          </p:cNvPr>
          <p:cNvSpPr txBox="1"/>
          <p:nvPr/>
        </p:nvSpPr>
        <p:spPr>
          <a:xfrm rot="18900000">
            <a:off x="5609954" y="2496597"/>
            <a:ext cx="216272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GB" sz="1200" b="1" dirty="0"/>
              <a:t>Review Recommendation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25FFFA0-75CD-4EC1-B82A-170214872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1383" y="96848"/>
            <a:ext cx="7627634" cy="492568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n-GB" dirty="0"/>
              <a:t>DXC Digital Explorer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BEB3D6F9-72F0-4B99-9ABC-1C977E022392}"/>
              </a:ext>
            </a:extLst>
          </p:cNvPr>
          <p:cNvSpPr/>
          <p:nvPr/>
        </p:nvSpPr>
        <p:spPr>
          <a:xfrm rot="16200000">
            <a:off x="5802087" y="3337102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3856B387-C9A5-42B9-A5C9-CC2E52A9ED9F}"/>
              </a:ext>
            </a:extLst>
          </p:cNvPr>
          <p:cNvSpPr/>
          <p:nvPr/>
        </p:nvSpPr>
        <p:spPr>
          <a:xfrm>
            <a:off x="13026132" y="5309117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305" name="Arrow: Chevron 304">
            <a:extLst>
              <a:ext uri="{FF2B5EF4-FFF2-40B4-BE49-F238E27FC236}">
                <a16:creationId xmlns:a16="http://schemas.microsoft.com/office/drawing/2014/main" id="{5D162C6C-6BAB-407B-A652-3CE89667E8EA}"/>
              </a:ext>
            </a:extLst>
          </p:cNvPr>
          <p:cNvSpPr/>
          <p:nvPr/>
        </p:nvSpPr>
        <p:spPr>
          <a:xfrm rot="10800000">
            <a:off x="12248046" y="5296081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3" name="Oval 312">
            <a:extLst>
              <a:ext uri="{FF2B5EF4-FFF2-40B4-BE49-F238E27FC236}">
                <a16:creationId xmlns:a16="http://schemas.microsoft.com/office/drawing/2014/main" id="{377553E1-5314-4018-869A-F87B2BDE22FA}"/>
              </a:ext>
            </a:extLst>
          </p:cNvPr>
          <p:cNvSpPr/>
          <p:nvPr/>
        </p:nvSpPr>
        <p:spPr>
          <a:xfrm>
            <a:off x="11499016" y="5313535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F7C407D4-669B-4AD6-B06D-255451FE5387}"/>
              </a:ext>
            </a:extLst>
          </p:cNvPr>
          <p:cNvSpPr/>
          <p:nvPr/>
        </p:nvSpPr>
        <p:spPr>
          <a:xfrm rot="16200000">
            <a:off x="8069180" y="4548629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9A7C0AF5-9951-4E6D-A3EE-1B795065E0E5}"/>
              </a:ext>
            </a:extLst>
          </p:cNvPr>
          <p:cNvSpPr/>
          <p:nvPr/>
        </p:nvSpPr>
        <p:spPr>
          <a:xfrm>
            <a:off x="1973402" y="5789673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1688E02E-DE56-461F-85C0-4D6526DA4B15}"/>
              </a:ext>
            </a:extLst>
          </p:cNvPr>
          <p:cNvSpPr/>
          <p:nvPr/>
        </p:nvSpPr>
        <p:spPr>
          <a:xfrm>
            <a:off x="2530593" y="5789673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32" name="Arrow: Chevron 131">
            <a:extLst>
              <a:ext uri="{FF2B5EF4-FFF2-40B4-BE49-F238E27FC236}">
                <a16:creationId xmlns:a16="http://schemas.microsoft.com/office/drawing/2014/main" id="{90387DAA-8902-4089-9C1E-2726AE56800B}"/>
              </a:ext>
            </a:extLst>
          </p:cNvPr>
          <p:cNvSpPr/>
          <p:nvPr/>
        </p:nvSpPr>
        <p:spPr>
          <a:xfrm rot="5400000">
            <a:off x="4970208" y="1572277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3" name="Arrow: Chevron 132">
            <a:extLst>
              <a:ext uri="{FF2B5EF4-FFF2-40B4-BE49-F238E27FC236}">
                <a16:creationId xmlns:a16="http://schemas.microsoft.com/office/drawing/2014/main" id="{1C5C0A82-F680-4697-80AB-8EA41538EAE1}"/>
              </a:ext>
            </a:extLst>
          </p:cNvPr>
          <p:cNvSpPr/>
          <p:nvPr/>
        </p:nvSpPr>
        <p:spPr>
          <a:xfrm rot="5400000">
            <a:off x="4970208" y="2588240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6" name="Arrow: Chevron 145">
            <a:extLst>
              <a:ext uri="{FF2B5EF4-FFF2-40B4-BE49-F238E27FC236}">
                <a16:creationId xmlns:a16="http://schemas.microsoft.com/office/drawing/2014/main" id="{2E4CB18C-166E-44E4-9847-BD6B0D6D2313}"/>
              </a:ext>
            </a:extLst>
          </p:cNvPr>
          <p:cNvSpPr/>
          <p:nvPr/>
        </p:nvSpPr>
        <p:spPr>
          <a:xfrm>
            <a:off x="11026878" y="4529387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66331B7A-64CE-4701-B836-B3B17E4A6CD7}"/>
              </a:ext>
            </a:extLst>
          </p:cNvPr>
          <p:cNvCxnSpPr>
            <a:cxnSpLocks/>
          </p:cNvCxnSpPr>
          <p:nvPr/>
        </p:nvCxnSpPr>
        <p:spPr>
          <a:xfrm flipH="1" flipV="1">
            <a:off x="8894027" y="4442733"/>
            <a:ext cx="1" cy="224848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081DD8E-3650-4E5D-A016-F29C44C9EA4D}"/>
              </a:ext>
            </a:extLst>
          </p:cNvPr>
          <p:cNvCxnSpPr>
            <a:cxnSpLocks/>
          </p:cNvCxnSpPr>
          <p:nvPr/>
        </p:nvCxnSpPr>
        <p:spPr>
          <a:xfrm flipH="1" flipV="1">
            <a:off x="4541951" y="3497670"/>
            <a:ext cx="1" cy="197553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1" name="TextBox 300">
            <a:extLst>
              <a:ext uri="{FF2B5EF4-FFF2-40B4-BE49-F238E27FC236}">
                <a16:creationId xmlns:a16="http://schemas.microsoft.com/office/drawing/2014/main" id="{7766245F-1153-4C6C-BFAF-F99CF6258622}"/>
              </a:ext>
            </a:extLst>
          </p:cNvPr>
          <p:cNvSpPr txBox="1"/>
          <p:nvPr/>
        </p:nvSpPr>
        <p:spPr>
          <a:xfrm rot="-2700000">
            <a:off x="8924662" y="5313035"/>
            <a:ext cx="19447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Review and select ideas</a:t>
            </a:r>
          </a:p>
        </p:txBody>
      </p:sp>
      <p:sp>
        <p:nvSpPr>
          <p:cNvPr id="328" name="Freeform: Shape 327">
            <a:extLst>
              <a:ext uri="{FF2B5EF4-FFF2-40B4-BE49-F238E27FC236}">
                <a16:creationId xmlns:a16="http://schemas.microsoft.com/office/drawing/2014/main" id="{103AC4F7-783A-45EA-8B3B-F14C09605EB2}"/>
              </a:ext>
            </a:extLst>
          </p:cNvPr>
          <p:cNvSpPr/>
          <p:nvPr/>
        </p:nvSpPr>
        <p:spPr>
          <a:xfrm>
            <a:off x="3123598" y="2117769"/>
            <a:ext cx="275822" cy="1495152"/>
          </a:xfrm>
          <a:custGeom>
            <a:avLst/>
            <a:gdLst>
              <a:gd name="connsiteX0" fmla="*/ 137911 w 275822"/>
              <a:gd name="connsiteY0" fmla="*/ 0 h 1495152"/>
              <a:gd name="connsiteX1" fmla="*/ 275822 w 275822"/>
              <a:gd name="connsiteY1" fmla="*/ 137911 h 1495152"/>
              <a:gd name="connsiteX2" fmla="*/ 191592 w 275822"/>
              <a:gd name="connsiteY2" fmla="*/ 264984 h 1495152"/>
              <a:gd name="connsiteX3" fmla="*/ 189849 w 275822"/>
              <a:gd name="connsiteY3" fmla="*/ 265336 h 1495152"/>
              <a:gd name="connsiteX4" fmla="*/ 189849 w 275822"/>
              <a:gd name="connsiteY4" fmla="*/ 1229816 h 1495152"/>
              <a:gd name="connsiteX5" fmla="*/ 191592 w 275822"/>
              <a:gd name="connsiteY5" fmla="*/ 1230168 h 1495152"/>
              <a:gd name="connsiteX6" fmla="*/ 275822 w 275822"/>
              <a:gd name="connsiteY6" fmla="*/ 1357241 h 1495152"/>
              <a:gd name="connsiteX7" fmla="*/ 137911 w 275822"/>
              <a:gd name="connsiteY7" fmla="*/ 1495152 h 1495152"/>
              <a:gd name="connsiteX8" fmla="*/ 0 w 275822"/>
              <a:gd name="connsiteY8" fmla="*/ 1357241 h 1495152"/>
              <a:gd name="connsiteX9" fmla="*/ 84230 w 275822"/>
              <a:gd name="connsiteY9" fmla="*/ 1230168 h 1495152"/>
              <a:gd name="connsiteX10" fmla="*/ 85973 w 275822"/>
              <a:gd name="connsiteY10" fmla="*/ 1229816 h 1495152"/>
              <a:gd name="connsiteX11" fmla="*/ 85973 w 275822"/>
              <a:gd name="connsiteY11" fmla="*/ 265336 h 1495152"/>
              <a:gd name="connsiteX12" fmla="*/ 84230 w 275822"/>
              <a:gd name="connsiteY12" fmla="*/ 264984 h 1495152"/>
              <a:gd name="connsiteX13" fmla="*/ 0 w 275822"/>
              <a:gd name="connsiteY13" fmla="*/ 137911 h 1495152"/>
              <a:gd name="connsiteX14" fmla="*/ 137911 w 275822"/>
              <a:gd name="connsiteY14" fmla="*/ 0 h 1495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5822" h="1495152">
                <a:moveTo>
                  <a:pt x="137911" y="0"/>
                </a:moveTo>
                <a:cubicBezTo>
                  <a:pt x="214077" y="0"/>
                  <a:pt x="275822" y="61745"/>
                  <a:pt x="275822" y="137911"/>
                </a:cubicBezTo>
                <a:cubicBezTo>
                  <a:pt x="275822" y="195036"/>
                  <a:pt x="241091" y="244048"/>
                  <a:pt x="191592" y="264984"/>
                </a:cubicBezTo>
                <a:lnTo>
                  <a:pt x="189849" y="265336"/>
                </a:lnTo>
                <a:lnTo>
                  <a:pt x="189849" y="1229816"/>
                </a:lnTo>
                <a:lnTo>
                  <a:pt x="191592" y="1230168"/>
                </a:lnTo>
                <a:cubicBezTo>
                  <a:pt x="241091" y="1251104"/>
                  <a:pt x="275822" y="1300117"/>
                  <a:pt x="275822" y="1357241"/>
                </a:cubicBezTo>
                <a:cubicBezTo>
                  <a:pt x="275822" y="1433407"/>
                  <a:pt x="214077" y="1495152"/>
                  <a:pt x="137911" y="1495152"/>
                </a:cubicBezTo>
                <a:cubicBezTo>
                  <a:pt x="61745" y="1495152"/>
                  <a:pt x="0" y="1433407"/>
                  <a:pt x="0" y="1357241"/>
                </a:cubicBezTo>
                <a:cubicBezTo>
                  <a:pt x="0" y="1300117"/>
                  <a:pt x="34731" y="1251104"/>
                  <a:pt x="84230" y="1230168"/>
                </a:cubicBezTo>
                <a:lnTo>
                  <a:pt x="85973" y="1229816"/>
                </a:lnTo>
                <a:lnTo>
                  <a:pt x="85973" y="265336"/>
                </a:lnTo>
                <a:lnTo>
                  <a:pt x="84230" y="264984"/>
                </a:lnTo>
                <a:cubicBezTo>
                  <a:pt x="34731" y="244048"/>
                  <a:pt x="0" y="195036"/>
                  <a:pt x="0" y="137911"/>
                </a:cubicBezTo>
                <a:cubicBezTo>
                  <a:pt x="0" y="61745"/>
                  <a:pt x="61745" y="0"/>
                  <a:pt x="137911" y="0"/>
                </a:cubicBezTo>
                <a:close/>
              </a:path>
            </a:pathLst>
          </a:cu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329" name="Freeform: Shape 328">
            <a:extLst>
              <a:ext uri="{FF2B5EF4-FFF2-40B4-BE49-F238E27FC236}">
                <a16:creationId xmlns:a16="http://schemas.microsoft.com/office/drawing/2014/main" id="{AA0E739D-A15B-4BF8-A967-C5B6598D3239}"/>
              </a:ext>
            </a:extLst>
          </p:cNvPr>
          <p:cNvSpPr/>
          <p:nvPr/>
        </p:nvSpPr>
        <p:spPr>
          <a:xfrm rot="16200000">
            <a:off x="6090196" y="2724528"/>
            <a:ext cx="2675786" cy="1470263"/>
          </a:xfrm>
          <a:custGeom>
            <a:avLst/>
            <a:gdLst>
              <a:gd name="connsiteX0" fmla="*/ 2675786 w 2675786"/>
              <a:gd name="connsiteY0" fmla="*/ 1332352 h 1470263"/>
              <a:gd name="connsiteX1" fmla="*/ 2537875 w 2675786"/>
              <a:gd name="connsiteY1" fmla="*/ 1470263 h 1470263"/>
              <a:gd name="connsiteX2" fmla="*/ 2399964 w 2675786"/>
              <a:gd name="connsiteY2" fmla="*/ 1332352 h 1470263"/>
              <a:gd name="connsiteX3" fmla="*/ 2410792 w 2675786"/>
              <a:gd name="connsiteY3" fmla="*/ 1278719 h 1470263"/>
              <a:gd name="connsiteX4" fmla="*/ 1396137 w 2675786"/>
              <a:gd name="connsiteY4" fmla="*/ 264064 h 1470263"/>
              <a:gd name="connsiteX5" fmla="*/ 1386907 w 2675786"/>
              <a:gd name="connsiteY5" fmla="*/ 270287 h 1470263"/>
              <a:gd name="connsiteX6" fmla="*/ 1333226 w 2675786"/>
              <a:gd name="connsiteY6" fmla="*/ 281125 h 1470263"/>
              <a:gd name="connsiteX7" fmla="*/ 1206153 w 2675786"/>
              <a:gd name="connsiteY7" fmla="*/ 196895 h 1470263"/>
              <a:gd name="connsiteX8" fmla="*/ 1204603 w 2675786"/>
              <a:gd name="connsiteY8" fmla="*/ 189219 h 1470263"/>
              <a:gd name="connsiteX9" fmla="*/ 265464 w 2675786"/>
              <a:gd name="connsiteY9" fmla="*/ 189219 h 1470263"/>
              <a:gd name="connsiteX10" fmla="*/ 264985 w 2675786"/>
              <a:gd name="connsiteY10" fmla="*/ 191592 h 1470263"/>
              <a:gd name="connsiteX11" fmla="*/ 137911 w 2675786"/>
              <a:gd name="connsiteY11" fmla="*/ 275822 h 1470263"/>
              <a:gd name="connsiteX12" fmla="*/ 0 w 2675786"/>
              <a:gd name="connsiteY12" fmla="*/ 137911 h 1470263"/>
              <a:gd name="connsiteX13" fmla="*/ 137911 w 2675786"/>
              <a:gd name="connsiteY13" fmla="*/ 0 h 1470263"/>
              <a:gd name="connsiteX14" fmla="*/ 264985 w 2675786"/>
              <a:gd name="connsiteY14" fmla="*/ 84230 h 1470263"/>
              <a:gd name="connsiteX15" fmla="*/ 265209 w 2675786"/>
              <a:gd name="connsiteY15" fmla="*/ 85343 h 1470263"/>
              <a:gd name="connsiteX16" fmla="*/ 1208978 w 2675786"/>
              <a:gd name="connsiteY16" fmla="*/ 85343 h 1470263"/>
              <a:gd name="connsiteX17" fmla="*/ 1235708 w 2675786"/>
              <a:gd name="connsiteY17" fmla="*/ 45696 h 1470263"/>
              <a:gd name="connsiteX18" fmla="*/ 1333226 w 2675786"/>
              <a:gd name="connsiteY18" fmla="*/ 5303 h 1470263"/>
              <a:gd name="connsiteX19" fmla="*/ 1471137 w 2675786"/>
              <a:gd name="connsiteY19" fmla="*/ 143214 h 1470263"/>
              <a:gd name="connsiteX20" fmla="*/ 1462915 w 2675786"/>
              <a:gd name="connsiteY20" fmla="*/ 183939 h 1470263"/>
              <a:gd name="connsiteX21" fmla="*/ 2484244 w 2675786"/>
              <a:gd name="connsiteY21" fmla="*/ 1205269 h 1470263"/>
              <a:gd name="connsiteX22" fmla="*/ 2537875 w 2675786"/>
              <a:gd name="connsiteY22" fmla="*/ 1194441 h 1470263"/>
              <a:gd name="connsiteX23" fmla="*/ 2675786 w 2675786"/>
              <a:gd name="connsiteY23" fmla="*/ 1332352 h 147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675786" h="1470263">
                <a:moveTo>
                  <a:pt x="2675786" y="1332352"/>
                </a:moveTo>
                <a:cubicBezTo>
                  <a:pt x="2675786" y="1408518"/>
                  <a:pt x="2614041" y="1470263"/>
                  <a:pt x="2537875" y="1470263"/>
                </a:cubicBezTo>
                <a:cubicBezTo>
                  <a:pt x="2461709" y="1470263"/>
                  <a:pt x="2399964" y="1408518"/>
                  <a:pt x="2399964" y="1332352"/>
                </a:cubicBezTo>
                <a:lnTo>
                  <a:pt x="2410792" y="1278719"/>
                </a:lnTo>
                <a:lnTo>
                  <a:pt x="1396137" y="264064"/>
                </a:lnTo>
                <a:lnTo>
                  <a:pt x="1386907" y="270287"/>
                </a:lnTo>
                <a:cubicBezTo>
                  <a:pt x="1370408" y="277266"/>
                  <a:pt x="1352267" y="281125"/>
                  <a:pt x="1333226" y="281125"/>
                </a:cubicBezTo>
                <a:cubicBezTo>
                  <a:pt x="1276101" y="281125"/>
                  <a:pt x="1227089" y="246393"/>
                  <a:pt x="1206153" y="196895"/>
                </a:cubicBezTo>
                <a:lnTo>
                  <a:pt x="1204603" y="189219"/>
                </a:lnTo>
                <a:lnTo>
                  <a:pt x="265464" y="189219"/>
                </a:lnTo>
                <a:lnTo>
                  <a:pt x="264985" y="191592"/>
                </a:lnTo>
                <a:cubicBezTo>
                  <a:pt x="244048" y="241090"/>
                  <a:pt x="195036" y="275822"/>
                  <a:pt x="137911" y="275822"/>
                </a:cubicBezTo>
                <a:cubicBezTo>
                  <a:pt x="61745" y="275822"/>
                  <a:pt x="0" y="214077"/>
                  <a:pt x="0" y="137911"/>
                </a:cubicBezTo>
                <a:cubicBezTo>
                  <a:pt x="0" y="61745"/>
                  <a:pt x="61745" y="0"/>
                  <a:pt x="137911" y="0"/>
                </a:cubicBezTo>
                <a:cubicBezTo>
                  <a:pt x="195036" y="0"/>
                  <a:pt x="244048" y="34731"/>
                  <a:pt x="264985" y="84230"/>
                </a:cubicBezTo>
                <a:lnTo>
                  <a:pt x="265209" y="85343"/>
                </a:lnTo>
                <a:lnTo>
                  <a:pt x="1208978" y="85343"/>
                </a:lnTo>
                <a:lnTo>
                  <a:pt x="1235708" y="45696"/>
                </a:lnTo>
                <a:cubicBezTo>
                  <a:pt x="1260665" y="20739"/>
                  <a:pt x="1295143" y="5303"/>
                  <a:pt x="1333226" y="5303"/>
                </a:cubicBezTo>
                <a:cubicBezTo>
                  <a:pt x="1409392" y="5303"/>
                  <a:pt x="1471137" y="67048"/>
                  <a:pt x="1471137" y="143214"/>
                </a:cubicBezTo>
                <a:lnTo>
                  <a:pt x="1462915" y="183939"/>
                </a:lnTo>
                <a:lnTo>
                  <a:pt x="2484244" y="1205269"/>
                </a:lnTo>
                <a:lnTo>
                  <a:pt x="2537875" y="1194441"/>
                </a:lnTo>
                <a:cubicBezTo>
                  <a:pt x="2614041" y="1194441"/>
                  <a:pt x="2675786" y="1256186"/>
                  <a:pt x="2675786" y="1332352"/>
                </a:cubicBezTo>
                <a:close/>
              </a:path>
            </a:pathLst>
          </a:cu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336" name="Freeform: Shape 335">
            <a:extLst>
              <a:ext uri="{FF2B5EF4-FFF2-40B4-BE49-F238E27FC236}">
                <a16:creationId xmlns:a16="http://schemas.microsoft.com/office/drawing/2014/main" id="{AC0C043C-A3D5-40D2-AEFC-46B00BCDFD57}"/>
              </a:ext>
            </a:extLst>
          </p:cNvPr>
          <p:cNvSpPr/>
          <p:nvPr/>
        </p:nvSpPr>
        <p:spPr>
          <a:xfrm rot="16200000">
            <a:off x="9231668" y="2151578"/>
            <a:ext cx="2702020" cy="2656783"/>
          </a:xfrm>
          <a:custGeom>
            <a:avLst/>
            <a:gdLst>
              <a:gd name="connsiteX0" fmla="*/ 2702020 w 2702020"/>
              <a:gd name="connsiteY0" fmla="*/ 2518872 h 2656783"/>
              <a:gd name="connsiteX1" fmla="*/ 2564109 w 2702020"/>
              <a:gd name="connsiteY1" fmla="*/ 2656783 h 2656783"/>
              <a:gd name="connsiteX2" fmla="*/ 2426198 w 2702020"/>
              <a:gd name="connsiteY2" fmla="*/ 2518872 h 2656783"/>
              <a:gd name="connsiteX3" fmla="*/ 2431707 w 2702020"/>
              <a:gd name="connsiteY3" fmla="*/ 2491586 h 2656783"/>
              <a:gd name="connsiteX4" fmla="*/ 199663 w 2702020"/>
              <a:gd name="connsiteY4" fmla="*/ 259543 h 2656783"/>
              <a:gd name="connsiteX5" fmla="*/ 191592 w 2702020"/>
              <a:gd name="connsiteY5" fmla="*/ 264984 h 2656783"/>
              <a:gd name="connsiteX6" fmla="*/ 137911 w 2702020"/>
              <a:gd name="connsiteY6" fmla="*/ 275822 h 2656783"/>
              <a:gd name="connsiteX7" fmla="*/ 0 w 2702020"/>
              <a:gd name="connsiteY7" fmla="*/ 137911 h 2656783"/>
              <a:gd name="connsiteX8" fmla="*/ 137911 w 2702020"/>
              <a:gd name="connsiteY8" fmla="*/ 0 h 2656783"/>
              <a:gd name="connsiteX9" fmla="*/ 275822 w 2702020"/>
              <a:gd name="connsiteY9" fmla="*/ 137911 h 2656783"/>
              <a:gd name="connsiteX10" fmla="*/ 268254 w 2702020"/>
              <a:gd name="connsiteY10" fmla="*/ 175398 h 2656783"/>
              <a:gd name="connsiteX11" fmla="*/ 2495034 w 2702020"/>
              <a:gd name="connsiteY11" fmla="*/ 2402178 h 2656783"/>
              <a:gd name="connsiteX12" fmla="*/ 2510428 w 2702020"/>
              <a:gd name="connsiteY12" fmla="*/ 2391799 h 2656783"/>
              <a:gd name="connsiteX13" fmla="*/ 2564109 w 2702020"/>
              <a:gd name="connsiteY13" fmla="*/ 2380961 h 2656783"/>
              <a:gd name="connsiteX14" fmla="*/ 2702020 w 2702020"/>
              <a:gd name="connsiteY14" fmla="*/ 2518872 h 2656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02020" h="2656783">
                <a:moveTo>
                  <a:pt x="2702020" y="2518872"/>
                </a:moveTo>
                <a:cubicBezTo>
                  <a:pt x="2702020" y="2595038"/>
                  <a:pt x="2640275" y="2656783"/>
                  <a:pt x="2564109" y="2656783"/>
                </a:cubicBezTo>
                <a:cubicBezTo>
                  <a:pt x="2487943" y="2656783"/>
                  <a:pt x="2426198" y="2595038"/>
                  <a:pt x="2426198" y="2518872"/>
                </a:cubicBezTo>
                <a:lnTo>
                  <a:pt x="2431707" y="2491586"/>
                </a:lnTo>
                <a:lnTo>
                  <a:pt x="199663" y="259543"/>
                </a:lnTo>
                <a:lnTo>
                  <a:pt x="191592" y="264984"/>
                </a:lnTo>
                <a:cubicBezTo>
                  <a:pt x="175093" y="271963"/>
                  <a:pt x="156953" y="275822"/>
                  <a:pt x="137911" y="275822"/>
                </a:cubicBezTo>
                <a:cubicBezTo>
                  <a:pt x="61745" y="275822"/>
                  <a:pt x="0" y="214077"/>
                  <a:pt x="0" y="137911"/>
                </a:cubicBezTo>
                <a:cubicBezTo>
                  <a:pt x="0" y="61745"/>
                  <a:pt x="61745" y="0"/>
                  <a:pt x="137911" y="0"/>
                </a:cubicBezTo>
                <a:cubicBezTo>
                  <a:pt x="214077" y="0"/>
                  <a:pt x="275822" y="61745"/>
                  <a:pt x="275822" y="137911"/>
                </a:cubicBezTo>
                <a:lnTo>
                  <a:pt x="268254" y="175398"/>
                </a:lnTo>
                <a:lnTo>
                  <a:pt x="2495034" y="2402178"/>
                </a:lnTo>
                <a:lnTo>
                  <a:pt x="2510428" y="2391799"/>
                </a:lnTo>
                <a:cubicBezTo>
                  <a:pt x="2526927" y="2384820"/>
                  <a:pt x="2545067" y="2380961"/>
                  <a:pt x="2564109" y="2380961"/>
                </a:cubicBezTo>
                <a:cubicBezTo>
                  <a:pt x="2640275" y="2380961"/>
                  <a:pt x="2702020" y="2442706"/>
                  <a:pt x="2702020" y="2518872"/>
                </a:cubicBezTo>
                <a:close/>
              </a:path>
            </a:pathLst>
          </a:cu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C3A06F-FC26-4216-B03D-2CC6D51DA8A6}"/>
              </a:ext>
            </a:extLst>
          </p:cNvPr>
          <p:cNvGrpSpPr/>
          <p:nvPr/>
        </p:nvGrpSpPr>
        <p:grpSpPr>
          <a:xfrm>
            <a:off x="5456118" y="7508186"/>
            <a:ext cx="3718165" cy="566533"/>
            <a:chOff x="4853284" y="7386012"/>
            <a:chExt cx="4520002" cy="688708"/>
          </a:xfrm>
        </p:grpSpPr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D68DF480-1AE3-4017-AA1C-77FB61519E7E}"/>
                </a:ext>
              </a:extLst>
            </p:cNvPr>
            <p:cNvGrpSpPr/>
            <p:nvPr/>
          </p:nvGrpSpPr>
          <p:grpSpPr>
            <a:xfrm>
              <a:off x="4853284" y="7627672"/>
              <a:ext cx="944302" cy="205388"/>
              <a:chOff x="11556850" y="641113"/>
              <a:chExt cx="1268133" cy="275822"/>
            </a:xfrm>
          </p:grpSpPr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A1BE8C2F-0C47-404C-BF7B-7BD6E0688B96}"/>
                  </a:ext>
                </a:extLst>
              </p:cNvPr>
              <p:cNvSpPr/>
              <p:nvPr/>
            </p:nvSpPr>
            <p:spPr>
              <a:xfrm rot="16200000">
                <a:off x="11556850" y="641113"/>
                <a:ext cx="275822" cy="275822"/>
              </a:xfrm>
              <a:prstGeom prst="ellipse">
                <a:avLst/>
              </a:prstGeom>
              <a:solidFill>
                <a:schemeClr val="bg2"/>
              </a:solidFill>
              <a:ln w="571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600"/>
              </a:p>
            </p:txBody>
          </p:sp>
          <p:sp>
            <p:nvSpPr>
              <p:cNvPr id="288" name="TextBox 287">
                <a:extLst>
                  <a:ext uri="{FF2B5EF4-FFF2-40B4-BE49-F238E27FC236}">
                    <a16:creationId xmlns:a16="http://schemas.microsoft.com/office/drawing/2014/main" id="{1576E018-A56C-4DBC-A936-721F7D61DE1C}"/>
                  </a:ext>
                </a:extLst>
              </p:cNvPr>
              <p:cNvSpPr txBox="1"/>
              <p:nvPr/>
            </p:nvSpPr>
            <p:spPr>
              <a:xfrm>
                <a:off x="11858052" y="663609"/>
                <a:ext cx="966931" cy="230833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>
                  <a:defRPr sz="1200" b="1"/>
                </a:lvl1pPr>
              </a:lstStyle>
              <a:p>
                <a:r>
                  <a:rPr lang="en-GB" sz="900" dirty="0"/>
                  <a:t>Action Station</a:t>
                </a:r>
              </a:p>
            </p:txBody>
          </p:sp>
        </p:grpSp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E9B7066A-934F-4215-B1A8-8FD3FD0326BB}"/>
                </a:ext>
              </a:extLst>
            </p:cNvPr>
            <p:cNvGrpSpPr/>
            <p:nvPr/>
          </p:nvGrpSpPr>
          <p:grpSpPr>
            <a:xfrm>
              <a:off x="7991676" y="7614950"/>
              <a:ext cx="1381610" cy="230832"/>
              <a:chOff x="11643137" y="1929719"/>
              <a:chExt cx="1855408" cy="309991"/>
            </a:xfrm>
          </p:grpSpPr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5504FAD2-8F89-4412-ACBC-D150F2D0DEFC}"/>
                  </a:ext>
                </a:extLst>
              </p:cNvPr>
              <p:cNvSpPr/>
              <p:nvPr/>
            </p:nvSpPr>
            <p:spPr>
              <a:xfrm>
                <a:off x="11643137" y="2033091"/>
                <a:ext cx="103247" cy="103247"/>
              </a:xfrm>
              <a:prstGeom prst="ellipse">
                <a:avLst/>
              </a:prstGeom>
              <a:ln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90" name="TextBox 289">
                <a:extLst>
                  <a:ext uri="{FF2B5EF4-FFF2-40B4-BE49-F238E27FC236}">
                    <a16:creationId xmlns:a16="http://schemas.microsoft.com/office/drawing/2014/main" id="{7862CACF-ACA5-4F52-8629-2FF9280B548D}"/>
                  </a:ext>
                </a:extLst>
              </p:cNvPr>
              <p:cNvSpPr txBox="1"/>
              <p:nvPr/>
            </p:nvSpPr>
            <p:spPr>
              <a:xfrm>
                <a:off x="11864196" y="1929719"/>
                <a:ext cx="1634349" cy="30999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>
                  <a:defRPr sz="1200" b="1"/>
                </a:lvl1pPr>
              </a:lstStyle>
              <a:p>
                <a:r>
                  <a:rPr lang="en-GB" sz="900" dirty="0"/>
                  <a:t>Achievement point</a:t>
                </a:r>
              </a:p>
            </p:txBody>
          </p:sp>
        </p:grp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E5CE020D-10FC-49DC-97AA-0651F9A275EF}"/>
                </a:ext>
              </a:extLst>
            </p:cNvPr>
            <p:cNvSpPr txBox="1"/>
            <p:nvPr/>
          </p:nvSpPr>
          <p:spPr>
            <a:xfrm>
              <a:off x="6661462" y="7644423"/>
              <a:ext cx="796410" cy="17188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>
                <a:defRPr sz="1200" b="1"/>
              </a:lvl1pPr>
            </a:lstStyle>
            <a:p>
              <a:r>
                <a:rPr lang="en-GB" sz="900" dirty="0"/>
                <a:t>Transfer Station</a:t>
              </a: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5D013E4E-7806-4BB6-98EA-2F012C0F1F09}"/>
                </a:ext>
              </a:extLst>
            </p:cNvPr>
            <p:cNvSpPr/>
            <p:nvPr/>
          </p:nvSpPr>
          <p:spPr>
            <a:xfrm>
              <a:off x="6410304" y="7386012"/>
              <a:ext cx="282653" cy="688708"/>
            </a:xfrm>
            <a:custGeom>
              <a:avLst/>
              <a:gdLst>
                <a:gd name="connsiteX0" fmla="*/ 144742 w 282653"/>
                <a:gd name="connsiteY0" fmla="*/ 0 h 688708"/>
                <a:gd name="connsiteX1" fmla="*/ 282653 w 282653"/>
                <a:gd name="connsiteY1" fmla="*/ 137911 h 688708"/>
                <a:gd name="connsiteX2" fmla="*/ 198423 w 282653"/>
                <a:gd name="connsiteY2" fmla="*/ 264985 h 688708"/>
                <a:gd name="connsiteX3" fmla="*/ 195107 w 282653"/>
                <a:gd name="connsiteY3" fmla="*/ 265654 h 688708"/>
                <a:gd name="connsiteX4" fmla="*/ 195107 w 282653"/>
                <a:gd name="connsiteY4" fmla="*/ 426094 h 688708"/>
                <a:gd name="connsiteX5" fmla="*/ 235429 w 282653"/>
                <a:gd name="connsiteY5" fmla="*/ 453280 h 688708"/>
                <a:gd name="connsiteX6" fmla="*/ 275822 w 282653"/>
                <a:gd name="connsiteY6" fmla="*/ 550797 h 688708"/>
                <a:gd name="connsiteX7" fmla="*/ 137911 w 282653"/>
                <a:gd name="connsiteY7" fmla="*/ 688708 h 688708"/>
                <a:gd name="connsiteX8" fmla="*/ 0 w 282653"/>
                <a:gd name="connsiteY8" fmla="*/ 550797 h 688708"/>
                <a:gd name="connsiteX9" fmla="*/ 40393 w 282653"/>
                <a:gd name="connsiteY9" fmla="*/ 453280 h 688708"/>
                <a:gd name="connsiteX10" fmla="*/ 81155 w 282653"/>
                <a:gd name="connsiteY10" fmla="*/ 425797 h 688708"/>
                <a:gd name="connsiteX11" fmla="*/ 81155 w 282653"/>
                <a:gd name="connsiteY11" fmla="*/ 258306 h 688708"/>
                <a:gd name="connsiteX12" fmla="*/ 47224 w 282653"/>
                <a:gd name="connsiteY12" fmla="*/ 235429 h 688708"/>
                <a:gd name="connsiteX13" fmla="*/ 6831 w 282653"/>
                <a:gd name="connsiteY13" fmla="*/ 137911 h 688708"/>
                <a:gd name="connsiteX14" fmla="*/ 144742 w 282653"/>
                <a:gd name="connsiteY14" fmla="*/ 0 h 688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2653" h="688708">
                  <a:moveTo>
                    <a:pt x="144742" y="0"/>
                  </a:moveTo>
                  <a:cubicBezTo>
                    <a:pt x="220908" y="0"/>
                    <a:pt x="282653" y="61745"/>
                    <a:pt x="282653" y="137911"/>
                  </a:cubicBezTo>
                  <a:cubicBezTo>
                    <a:pt x="282653" y="195036"/>
                    <a:pt x="247922" y="244048"/>
                    <a:pt x="198423" y="264985"/>
                  </a:cubicBezTo>
                  <a:lnTo>
                    <a:pt x="195107" y="265654"/>
                  </a:lnTo>
                  <a:lnTo>
                    <a:pt x="195107" y="426094"/>
                  </a:lnTo>
                  <a:lnTo>
                    <a:pt x="235429" y="453280"/>
                  </a:lnTo>
                  <a:cubicBezTo>
                    <a:pt x="260386" y="478237"/>
                    <a:pt x="275822" y="512714"/>
                    <a:pt x="275822" y="550797"/>
                  </a:cubicBezTo>
                  <a:cubicBezTo>
                    <a:pt x="275822" y="626963"/>
                    <a:pt x="214077" y="688708"/>
                    <a:pt x="137911" y="688708"/>
                  </a:cubicBezTo>
                  <a:cubicBezTo>
                    <a:pt x="61745" y="688708"/>
                    <a:pt x="0" y="626963"/>
                    <a:pt x="0" y="550797"/>
                  </a:cubicBezTo>
                  <a:cubicBezTo>
                    <a:pt x="0" y="512714"/>
                    <a:pt x="15436" y="478237"/>
                    <a:pt x="40393" y="453280"/>
                  </a:cubicBezTo>
                  <a:lnTo>
                    <a:pt x="81155" y="425797"/>
                  </a:lnTo>
                  <a:lnTo>
                    <a:pt x="81155" y="258306"/>
                  </a:lnTo>
                  <a:lnTo>
                    <a:pt x="47224" y="235429"/>
                  </a:lnTo>
                  <a:cubicBezTo>
                    <a:pt x="22267" y="210472"/>
                    <a:pt x="6831" y="175994"/>
                    <a:pt x="6831" y="137911"/>
                  </a:cubicBezTo>
                  <a:cubicBezTo>
                    <a:pt x="6831" y="61745"/>
                    <a:pt x="68576" y="0"/>
                    <a:pt x="144742" y="0"/>
                  </a:cubicBezTo>
                  <a:close/>
                </a:path>
              </a:pathLst>
            </a:cu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800"/>
            </a:p>
          </p:txBody>
        </p:sp>
      </p:grpSp>
      <p:sp>
        <p:nvSpPr>
          <p:cNvPr id="340" name="TextBox 339">
            <a:extLst>
              <a:ext uri="{FF2B5EF4-FFF2-40B4-BE49-F238E27FC236}">
                <a16:creationId xmlns:a16="http://schemas.microsoft.com/office/drawing/2014/main" id="{E01BADC5-BBE2-4143-95F0-BBE294792F3C}"/>
              </a:ext>
            </a:extLst>
          </p:cNvPr>
          <p:cNvSpPr txBox="1"/>
          <p:nvPr/>
        </p:nvSpPr>
        <p:spPr>
          <a:xfrm rot="-2700000">
            <a:off x="9492416" y="3367455"/>
            <a:ext cx="16273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r">
              <a:defRPr sz="900" b="1" i="1"/>
            </a:lvl1pPr>
          </a:lstStyle>
          <a:p>
            <a:r>
              <a:rPr lang="en-GB" dirty="0"/>
              <a:t>Create summary playbook</a:t>
            </a:r>
          </a:p>
        </p:txBody>
      </p:sp>
      <p:sp>
        <p:nvSpPr>
          <p:cNvPr id="312" name="Freeform: Shape 311">
            <a:extLst>
              <a:ext uri="{FF2B5EF4-FFF2-40B4-BE49-F238E27FC236}">
                <a16:creationId xmlns:a16="http://schemas.microsoft.com/office/drawing/2014/main" id="{2969905B-4E08-44BD-8D8A-A3006DB32C14}"/>
              </a:ext>
            </a:extLst>
          </p:cNvPr>
          <p:cNvSpPr/>
          <p:nvPr/>
        </p:nvSpPr>
        <p:spPr>
          <a:xfrm>
            <a:off x="10563395" y="2848359"/>
            <a:ext cx="1931941" cy="4405442"/>
          </a:xfrm>
          <a:custGeom>
            <a:avLst/>
            <a:gdLst>
              <a:gd name="connsiteX0" fmla="*/ 1794030 w 1931941"/>
              <a:gd name="connsiteY0" fmla="*/ 0 h 4405442"/>
              <a:gd name="connsiteX1" fmla="*/ 1931941 w 1931941"/>
              <a:gd name="connsiteY1" fmla="*/ 137911 h 4405442"/>
              <a:gd name="connsiteX2" fmla="*/ 1794030 w 1931941"/>
              <a:gd name="connsiteY2" fmla="*/ 275822 h 4405442"/>
              <a:gd name="connsiteX3" fmla="*/ 1752817 w 1931941"/>
              <a:gd name="connsiteY3" fmla="*/ 267501 h 4405442"/>
              <a:gd name="connsiteX4" fmla="*/ 256985 w 1931941"/>
              <a:gd name="connsiteY4" fmla="*/ 1763333 h 4405442"/>
              <a:gd name="connsiteX5" fmla="*/ 264984 w 1931941"/>
              <a:gd name="connsiteY5" fmla="*/ 1775197 h 4405442"/>
              <a:gd name="connsiteX6" fmla="*/ 275822 w 1931941"/>
              <a:gd name="connsiteY6" fmla="*/ 1828878 h 4405442"/>
              <a:gd name="connsiteX7" fmla="*/ 191592 w 1931941"/>
              <a:gd name="connsiteY7" fmla="*/ 1955951 h 4405442"/>
              <a:gd name="connsiteX8" fmla="*/ 190680 w 1931941"/>
              <a:gd name="connsiteY8" fmla="*/ 1956135 h 4405442"/>
              <a:gd name="connsiteX9" fmla="*/ 190680 w 1931941"/>
              <a:gd name="connsiteY9" fmla="*/ 4138965 h 4405442"/>
              <a:gd name="connsiteX10" fmla="*/ 198075 w 1931941"/>
              <a:gd name="connsiteY10" fmla="*/ 4140458 h 4405442"/>
              <a:gd name="connsiteX11" fmla="*/ 282305 w 1931941"/>
              <a:gd name="connsiteY11" fmla="*/ 4267531 h 4405442"/>
              <a:gd name="connsiteX12" fmla="*/ 144394 w 1931941"/>
              <a:gd name="connsiteY12" fmla="*/ 4405442 h 4405442"/>
              <a:gd name="connsiteX13" fmla="*/ 6483 w 1931941"/>
              <a:gd name="connsiteY13" fmla="*/ 4267531 h 4405442"/>
              <a:gd name="connsiteX14" fmla="*/ 90713 w 1931941"/>
              <a:gd name="connsiteY14" fmla="*/ 4140458 h 4405442"/>
              <a:gd name="connsiteX15" fmla="*/ 92333 w 1931941"/>
              <a:gd name="connsiteY15" fmla="*/ 4140131 h 4405442"/>
              <a:gd name="connsiteX16" fmla="*/ 92333 w 1931941"/>
              <a:gd name="connsiteY16" fmla="*/ 1957587 h 4405442"/>
              <a:gd name="connsiteX17" fmla="*/ 84230 w 1931941"/>
              <a:gd name="connsiteY17" fmla="*/ 1955951 h 4405442"/>
              <a:gd name="connsiteX18" fmla="*/ 0 w 1931941"/>
              <a:gd name="connsiteY18" fmla="*/ 1828878 h 4405442"/>
              <a:gd name="connsiteX19" fmla="*/ 137911 w 1931941"/>
              <a:gd name="connsiteY19" fmla="*/ 1690967 h 4405442"/>
              <a:gd name="connsiteX20" fmla="*/ 181472 w 1931941"/>
              <a:gd name="connsiteY20" fmla="*/ 1699761 h 4405442"/>
              <a:gd name="connsiteX21" fmla="*/ 1676092 w 1931941"/>
              <a:gd name="connsiteY21" fmla="*/ 205142 h 4405442"/>
              <a:gd name="connsiteX22" fmla="*/ 1666957 w 1931941"/>
              <a:gd name="connsiteY22" fmla="*/ 191592 h 4405442"/>
              <a:gd name="connsiteX23" fmla="*/ 1656119 w 1931941"/>
              <a:gd name="connsiteY23" fmla="*/ 137911 h 4405442"/>
              <a:gd name="connsiteX24" fmla="*/ 1794030 w 1931941"/>
              <a:gd name="connsiteY24" fmla="*/ 0 h 4405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931941" h="4405442">
                <a:moveTo>
                  <a:pt x="1794030" y="0"/>
                </a:moveTo>
                <a:cubicBezTo>
                  <a:pt x="1870196" y="0"/>
                  <a:pt x="1931941" y="61745"/>
                  <a:pt x="1931941" y="137911"/>
                </a:cubicBezTo>
                <a:cubicBezTo>
                  <a:pt x="1931941" y="214077"/>
                  <a:pt x="1870196" y="275822"/>
                  <a:pt x="1794030" y="275822"/>
                </a:cubicBezTo>
                <a:lnTo>
                  <a:pt x="1752817" y="267501"/>
                </a:lnTo>
                <a:lnTo>
                  <a:pt x="256985" y="1763333"/>
                </a:lnTo>
                <a:lnTo>
                  <a:pt x="264984" y="1775197"/>
                </a:lnTo>
                <a:cubicBezTo>
                  <a:pt x="271963" y="1791696"/>
                  <a:pt x="275822" y="1809836"/>
                  <a:pt x="275822" y="1828878"/>
                </a:cubicBezTo>
                <a:cubicBezTo>
                  <a:pt x="275822" y="1886002"/>
                  <a:pt x="241090" y="1935015"/>
                  <a:pt x="191592" y="1955951"/>
                </a:cubicBezTo>
                <a:lnTo>
                  <a:pt x="190680" y="1956135"/>
                </a:lnTo>
                <a:lnTo>
                  <a:pt x="190680" y="4138965"/>
                </a:lnTo>
                <a:lnTo>
                  <a:pt x="198075" y="4140458"/>
                </a:lnTo>
                <a:cubicBezTo>
                  <a:pt x="247573" y="4161394"/>
                  <a:pt x="282305" y="4210407"/>
                  <a:pt x="282305" y="4267531"/>
                </a:cubicBezTo>
                <a:cubicBezTo>
                  <a:pt x="282305" y="4343697"/>
                  <a:pt x="220560" y="4405442"/>
                  <a:pt x="144394" y="4405442"/>
                </a:cubicBezTo>
                <a:cubicBezTo>
                  <a:pt x="68228" y="4405442"/>
                  <a:pt x="6483" y="4343697"/>
                  <a:pt x="6483" y="4267531"/>
                </a:cubicBezTo>
                <a:cubicBezTo>
                  <a:pt x="6483" y="4210407"/>
                  <a:pt x="41215" y="4161394"/>
                  <a:pt x="90713" y="4140458"/>
                </a:cubicBezTo>
                <a:lnTo>
                  <a:pt x="92333" y="4140131"/>
                </a:lnTo>
                <a:lnTo>
                  <a:pt x="92333" y="1957587"/>
                </a:lnTo>
                <a:lnTo>
                  <a:pt x="84230" y="1955951"/>
                </a:lnTo>
                <a:cubicBezTo>
                  <a:pt x="34732" y="1935015"/>
                  <a:pt x="0" y="1886002"/>
                  <a:pt x="0" y="1828878"/>
                </a:cubicBezTo>
                <a:cubicBezTo>
                  <a:pt x="0" y="1752712"/>
                  <a:pt x="61745" y="1690967"/>
                  <a:pt x="137911" y="1690967"/>
                </a:cubicBezTo>
                <a:lnTo>
                  <a:pt x="181472" y="1699761"/>
                </a:lnTo>
                <a:lnTo>
                  <a:pt x="1676092" y="205142"/>
                </a:lnTo>
                <a:lnTo>
                  <a:pt x="1666957" y="191592"/>
                </a:lnTo>
                <a:cubicBezTo>
                  <a:pt x="1659978" y="175093"/>
                  <a:pt x="1656119" y="156952"/>
                  <a:pt x="1656119" y="137911"/>
                </a:cubicBezTo>
                <a:cubicBezTo>
                  <a:pt x="1656119" y="61745"/>
                  <a:pt x="1717864" y="0"/>
                  <a:pt x="1794030" y="0"/>
                </a:cubicBezTo>
                <a:close/>
              </a:path>
            </a:pathLst>
          </a:cu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9DFA1924-E5D5-48B8-AD04-F4DD083520CC}"/>
              </a:ext>
            </a:extLst>
          </p:cNvPr>
          <p:cNvGrpSpPr/>
          <p:nvPr/>
        </p:nvGrpSpPr>
        <p:grpSpPr>
          <a:xfrm>
            <a:off x="11404389" y="3159003"/>
            <a:ext cx="1097358" cy="512078"/>
            <a:chOff x="9480346" y="3616435"/>
            <a:chExt cx="1924492" cy="898057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4FD0AED4-6AA1-4822-A9DA-7EEB71666E1F}"/>
                </a:ext>
              </a:extLst>
            </p:cNvPr>
            <p:cNvGrpSpPr/>
            <p:nvPr/>
          </p:nvGrpSpPr>
          <p:grpSpPr>
            <a:xfrm>
              <a:off x="9480346" y="3616435"/>
              <a:ext cx="1924492" cy="612695"/>
              <a:chOff x="9475224" y="3616435"/>
              <a:chExt cx="1924492" cy="612695"/>
            </a:xfrm>
          </p:grpSpPr>
          <p:grpSp>
            <p:nvGrpSpPr>
              <p:cNvPr id="177" name="Group 176">
                <a:extLst>
                  <a:ext uri="{FF2B5EF4-FFF2-40B4-BE49-F238E27FC236}">
                    <a16:creationId xmlns:a16="http://schemas.microsoft.com/office/drawing/2014/main" id="{96F8CFF3-906A-47CF-8BE7-3D8CACF9AE3B}"/>
                  </a:ext>
                </a:extLst>
              </p:cNvPr>
              <p:cNvGrpSpPr/>
              <p:nvPr/>
            </p:nvGrpSpPr>
            <p:grpSpPr>
              <a:xfrm>
                <a:off x="9475224" y="3634740"/>
                <a:ext cx="1144006" cy="594390"/>
                <a:chOff x="9475224" y="3017706"/>
                <a:chExt cx="2331594" cy="1211424"/>
              </a:xfrm>
            </p:grpSpPr>
            <p:sp>
              <p:nvSpPr>
                <p:cNvPr id="185" name="Arc 184">
                  <a:extLst>
                    <a:ext uri="{FF2B5EF4-FFF2-40B4-BE49-F238E27FC236}">
                      <a16:creationId xmlns:a16="http://schemas.microsoft.com/office/drawing/2014/main" id="{0F023055-4144-4492-AAF2-8BFB603B67F2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6" name="Arc 185">
                  <a:extLst>
                    <a:ext uri="{FF2B5EF4-FFF2-40B4-BE49-F238E27FC236}">
                      <a16:creationId xmlns:a16="http://schemas.microsoft.com/office/drawing/2014/main" id="{4379E7BB-8C63-42BF-9EC4-FE5A9A419F00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7" name="Arc 186">
                  <a:extLst>
                    <a:ext uri="{FF2B5EF4-FFF2-40B4-BE49-F238E27FC236}">
                      <a16:creationId xmlns:a16="http://schemas.microsoft.com/office/drawing/2014/main" id="{D6A9822E-50A5-4926-B759-B9AB3A9637F6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8" name="Arc 187">
                  <a:extLst>
                    <a:ext uri="{FF2B5EF4-FFF2-40B4-BE49-F238E27FC236}">
                      <a16:creationId xmlns:a16="http://schemas.microsoft.com/office/drawing/2014/main" id="{795840AF-B932-4C07-94F7-3D907707DF60}"/>
                    </a:ext>
                  </a:extLst>
                </p:cNvPr>
                <p:cNvSpPr/>
                <p:nvPr/>
              </p:nvSpPr>
              <p:spPr>
                <a:xfrm rot="19043479">
                  <a:off x="11086810" y="3491809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A8375DA8-CA2C-4960-A6C3-F550EFA99BD7}"/>
                  </a:ext>
                </a:extLst>
              </p:cNvPr>
              <p:cNvGrpSpPr/>
              <p:nvPr/>
            </p:nvGrpSpPr>
            <p:grpSpPr>
              <a:xfrm>
                <a:off x="10522333" y="3616435"/>
                <a:ext cx="877383" cy="594390"/>
                <a:chOff x="9475224" y="3017706"/>
                <a:chExt cx="1788190" cy="1211424"/>
              </a:xfrm>
            </p:grpSpPr>
            <p:sp>
              <p:nvSpPr>
                <p:cNvPr id="179" name="Arc 178">
                  <a:extLst>
                    <a:ext uri="{FF2B5EF4-FFF2-40B4-BE49-F238E27FC236}">
                      <a16:creationId xmlns:a16="http://schemas.microsoft.com/office/drawing/2014/main" id="{D1C3D950-33B9-489A-96B7-C4FC5C138313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0" name="Arc 179">
                  <a:extLst>
                    <a:ext uri="{FF2B5EF4-FFF2-40B4-BE49-F238E27FC236}">
                      <a16:creationId xmlns:a16="http://schemas.microsoft.com/office/drawing/2014/main" id="{FC5B7437-C2EF-4C5B-99A0-31512A9524B9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3" name="Arc 182">
                  <a:extLst>
                    <a:ext uri="{FF2B5EF4-FFF2-40B4-BE49-F238E27FC236}">
                      <a16:creationId xmlns:a16="http://schemas.microsoft.com/office/drawing/2014/main" id="{337B2F2B-DB18-4B73-BFD6-60BE6FCE9A51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8C43D555-003A-4B1A-81F4-1F28663BCAAC}"/>
                </a:ext>
              </a:extLst>
            </p:cNvPr>
            <p:cNvGrpSpPr/>
            <p:nvPr/>
          </p:nvGrpSpPr>
          <p:grpSpPr>
            <a:xfrm>
              <a:off x="9480346" y="3759116"/>
              <a:ext cx="1924492" cy="612695"/>
              <a:chOff x="9475224" y="3616435"/>
              <a:chExt cx="1924492" cy="612695"/>
            </a:xfrm>
          </p:grpSpPr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94F5E91A-9E45-444B-822A-1849ABDC8135}"/>
                  </a:ext>
                </a:extLst>
              </p:cNvPr>
              <p:cNvGrpSpPr/>
              <p:nvPr/>
            </p:nvGrpSpPr>
            <p:grpSpPr>
              <a:xfrm>
                <a:off x="9475224" y="3634740"/>
                <a:ext cx="1144006" cy="594390"/>
                <a:chOff x="9475224" y="3017706"/>
                <a:chExt cx="2331594" cy="1211424"/>
              </a:xfrm>
            </p:grpSpPr>
            <p:sp>
              <p:nvSpPr>
                <p:cNvPr id="172" name="Arc 171">
                  <a:extLst>
                    <a:ext uri="{FF2B5EF4-FFF2-40B4-BE49-F238E27FC236}">
                      <a16:creationId xmlns:a16="http://schemas.microsoft.com/office/drawing/2014/main" id="{56BBF3CF-B69D-4859-8971-371ACF4F0264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4" name="Arc 173">
                  <a:extLst>
                    <a:ext uri="{FF2B5EF4-FFF2-40B4-BE49-F238E27FC236}">
                      <a16:creationId xmlns:a16="http://schemas.microsoft.com/office/drawing/2014/main" id="{B063C091-4E99-4016-BF04-C61FBCFC01CD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5" name="Arc 174">
                  <a:extLst>
                    <a:ext uri="{FF2B5EF4-FFF2-40B4-BE49-F238E27FC236}">
                      <a16:creationId xmlns:a16="http://schemas.microsoft.com/office/drawing/2014/main" id="{8EA6EB3F-2E4B-47D3-BA91-331C042A7043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6" name="Arc 175">
                  <a:extLst>
                    <a:ext uri="{FF2B5EF4-FFF2-40B4-BE49-F238E27FC236}">
                      <a16:creationId xmlns:a16="http://schemas.microsoft.com/office/drawing/2014/main" id="{788074AE-9DB6-42D1-BA7F-12D9CB2E8CE2}"/>
                    </a:ext>
                  </a:extLst>
                </p:cNvPr>
                <p:cNvSpPr/>
                <p:nvPr/>
              </p:nvSpPr>
              <p:spPr>
                <a:xfrm rot="19043479">
                  <a:off x="11086810" y="3491809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67" name="Group 166">
                <a:extLst>
                  <a:ext uri="{FF2B5EF4-FFF2-40B4-BE49-F238E27FC236}">
                    <a16:creationId xmlns:a16="http://schemas.microsoft.com/office/drawing/2014/main" id="{363A3681-F59F-4C8B-81D0-D083BA15F591}"/>
                  </a:ext>
                </a:extLst>
              </p:cNvPr>
              <p:cNvGrpSpPr/>
              <p:nvPr/>
            </p:nvGrpSpPr>
            <p:grpSpPr>
              <a:xfrm>
                <a:off x="10522333" y="3616435"/>
                <a:ext cx="877383" cy="594390"/>
                <a:chOff x="9475224" y="3017706"/>
                <a:chExt cx="1788190" cy="1211424"/>
              </a:xfrm>
            </p:grpSpPr>
            <p:sp>
              <p:nvSpPr>
                <p:cNvPr id="169" name="Arc 168">
                  <a:extLst>
                    <a:ext uri="{FF2B5EF4-FFF2-40B4-BE49-F238E27FC236}">
                      <a16:creationId xmlns:a16="http://schemas.microsoft.com/office/drawing/2014/main" id="{6954A415-7C40-4298-AB86-18DDEFA4EB4A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0" name="Arc 169">
                  <a:extLst>
                    <a:ext uri="{FF2B5EF4-FFF2-40B4-BE49-F238E27FC236}">
                      <a16:creationId xmlns:a16="http://schemas.microsoft.com/office/drawing/2014/main" id="{F4E55BE6-8885-45A4-9765-BEF949B0C02B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1" name="Arc 170">
                  <a:extLst>
                    <a:ext uri="{FF2B5EF4-FFF2-40B4-BE49-F238E27FC236}">
                      <a16:creationId xmlns:a16="http://schemas.microsoft.com/office/drawing/2014/main" id="{50B38077-7EA9-4C5D-92F5-7A2EF5D4C8A5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97D8CF49-0AE5-49F3-A6F3-23B07D3CC528}"/>
                </a:ext>
              </a:extLst>
            </p:cNvPr>
            <p:cNvGrpSpPr/>
            <p:nvPr/>
          </p:nvGrpSpPr>
          <p:grpSpPr>
            <a:xfrm>
              <a:off x="9480346" y="3901797"/>
              <a:ext cx="1924492" cy="612695"/>
              <a:chOff x="9475224" y="3616435"/>
              <a:chExt cx="1924492" cy="612695"/>
            </a:xfrm>
          </p:grpSpPr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D010C2AB-EC27-447C-BD92-D9107E71E328}"/>
                  </a:ext>
                </a:extLst>
              </p:cNvPr>
              <p:cNvGrpSpPr/>
              <p:nvPr/>
            </p:nvGrpSpPr>
            <p:grpSpPr>
              <a:xfrm>
                <a:off x="9475224" y="3634740"/>
                <a:ext cx="1144006" cy="594390"/>
                <a:chOff x="9475224" y="3017706"/>
                <a:chExt cx="2331594" cy="1211424"/>
              </a:xfrm>
            </p:grpSpPr>
            <p:sp>
              <p:nvSpPr>
                <p:cNvPr id="138" name="Arc 137">
                  <a:extLst>
                    <a:ext uri="{FF2B5EF4-FFF2-40B4-BE49-F238E27FC236}">
                      <a16:creationId xmlns:a16="http://schemas.microsoft.com/office/drawing/2014/main" id="{44D6C923-6C52-45FC-B714-EEE8CD81E010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39" name="Arc 138">
                  <a:extLst>
                    <a:ext uri="{FF2B5EF4-FFF2-40B4-BE49-F238E27FC236}">
                      <a16:creationId xmlns:a16="http://schemas.microsoft.com/office/drawing/2014/main" id="{1140A992-3C9C-4459-9C33-C53A9012825B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41" name="Arc 140">
                  <a:extLst>
                    <a:ext uri="{FF2B5EF4-FFF2-40B4-BE49-F238E27FC236}">
                      <a16:creationId xmlns:a16="http://schemas.microsoft.com/office/drawing/2014/main" id="{9DB5ACB4-C637-457F-8724-BAC6205DFBD4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42" name="Arc 141">
                  <a:extLst>
                    <a:ext uri="{FF2B5EF4-FFF2-40B4-BE49-F238E27FC236}">
                      <a16:creationId xmlns:a16="http://schemas.microsoft.com/office/drawing/2014/main" id="{E0E7FE9D-AA2D-46DE-ADF9-0E7B42DE08FE}"/>
                    </a:ext>
                  </a:extLst>
                </p:cNvPr>
                <p:cNvSpPr/>
                <p:nvPr/>
              </p:nvSpPr>
              <p:spPr>
                <a:xfrm rot="19043479">
                  <a:off x="11086810" y="3491809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49328095-578C-4937-9B37-9EB7F21AB0E6}"/>
                  </a:ext>
                </a:extLst>
              </p:cNvPr>
              <p:cNvGrpSpPr/>
              <p:nvPr/>
            </p:nvGrpSpPr>
            <p:grpSpPr>
              <a:xfrm>
                <a:off x="10522333" y="3616435"/>
                <a:ext cx="877383" cy="594390"/>
                <a:chOff x="9475224" y="3017706"/>
                <a:chExt cx="1788190" cy="1211424"/>
              </a:xfrm>
            </p:grpSpPr>
            <p:sp>
              <p:nvSpPr>
                <p:cNvPr id="126" name="Arc 125">
                  <a:extLst>
                    <a:ext uri="{FF2B5EF4-FFF2-40B4-BE49-F238E27FC236}">
                      <a16:creationId xmlns:a16="http://schemas.microsoft.com/office/drawing/2014/main" id="{B48AAAD7-1FD7-420C-BD1B-DEA958AFAD58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34" name="Arc 133">
                  <a:extLst>
                    <a:ext uri="{FF2B5EF4-FFF2-40B4-BE49-F238E27FC236}">
                      <a16:creationId xmlns:a16="http://schemas.microsoft.com/office/drawing/2014/main" id="{D95E8923-F400-4FE5-8547-13491B302A02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36" name="Arc 135">
                  <a:extLst>
                    <a:ext uri="{FF2B5EF4-FFF2-40B4-BE49-F238E27FC236}">
                      <a16:creationId xmlns:a16="http://schemas.microsoft.com/office/drawing/2014/main" id="{02FC8AD7-08E4-4622-BB97-75CE665AA1B9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</p:grpSp>
      <p:sp>
        <p:nvSpPr>
          <p:cNvPr id="189" name="Freeform 121">
            <a:extLst>
              <a:ext uri="{FF2B5EF4-FFF2-40B4-BE49-F238E27FC236}">
                <a16:creationId xmlns:a16="http://schemas.microsoft.com/office/drawing/2014/main" id="{5143EACF-DA0D-46A3-87AA-1A174AC90D0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7448" y="3362589"/>
            <a:ext cx="384807" cy="224847"/>
          </a:xfrm>
          <a:custGeom>
            <a:avLst/>
            <a:gdLst>
              <a:gd name="T0" fmla="*/ 576 w 1152"/>
              <a:gd name="T1" fmla="*/ 571 h 672"/>
              <a:gd name="T2" fmla="*/ 336 w 1152"/>
              <a:gd name="T3" fmla="*/ 672 h 672"/>
              <a:gd name="T4" fmla="*/ 0 w 1152"/>
              <a:gd name="T5" fmla="*/ 336 h 672"/>
              <a:gd name="T6" fmla="*/ 336 w 1152"/>
              <a:gd name="T7" fmla="*/ 0 h 672"/>
              <a:gd name="T8" fmla="*/ 576 w 1152"/>
              <a:gd name="T9" fmla="*/ 101 h 672"/>
              <a:gd name="T10" fmla="*/ 480 w 1152"/>
              <a:gd name="T11" fmla="*/ 336 h 672"/>
              <a:gd name="T12" fmla="*/ 576 w 1152"/>
              <a:gd name="T13" fmla="*/ 571 h 672"/>
              <a:gd name="T14" fmla="*/ 816 w 1152"/>
              <a:gd name="T15" fmla="*/ 0 h 672"/>
              <a:gd name="T16" fmla="*/ 576 w 1152"/>
              <a:gd name="T17" fmla="*/ 101 h 672"/>
              <a:gd name="T18" fmla="*/ 672 w 1152"/>
              <a:gd name="T19" fmla="*/ 336 h 672"/>
              <a:gd name="T20" fmla="*/ 576 w 1152"/>
              <a:gd name="T21" fmla="*/ 571 h 672"/>
              <a:gd name="T22" fmla="*/ 816 w 1152"/>
              <a:gd name="T23" fmla="*/ 672 h 672"/>
              <a:gd name="T24" fmla="*/ 1152 w 1152"/>
              <a:gd name="T25" fmla="*/ 336 h 672"/>
              <a:gd name="T26" fmla="*/ 816 w 1152"/>
              <a:gd name="T27" fmla="*/ 0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52" h="672">
                <a:moveTo>
                  <a:pt x="576" y="571"/>
                </a:moveTo>
                <a:cubicBezTo>
                  <a:pt x="515" y="633"/>
                  <a:pt x="430" y="672"/>
                  <a:pt x="336" y="672"/>
                </a:cubicBezTo>
                <a:cubicBezTo>
                  <a:pt x="150" y="672"/>
                  <a:pt x="0" y="522"/>
                  <a:pt x="0" y="336"/>
                </a:cubicBezTo>
                <a:cubicBezTo>
                  <a:pt x="0" y="150"/>
                  <a:pt x="150" y="0"/>
                  <a:pt x="336" y="0"/>
                </a:cubicBezTo>
                <a:cubicBezTo>
                  <a:pt x="430" y="0"/>
                  <a:pt x="515" y="39"/>
                  <a:pt x="576" y="101"/>
                </a:cubicBezTo>
                <a:cubicBezTo>
                  <a:pt x="517" y="162"/>
                  <a:pt x="480" y="244"/>
                  <a:pt x="480" y="336"/>
                </a:cubicBezTo>
                <a:cubicBezTo>
                  <a:pt x="480" y="428"/>
                  <a:pt x="517" y="510"/>
                  <a:pt x="576" y="571"/>
                </a:cubicBezTo>
                <a:close/>
                <a:moveTo>
                  <a:pt x="816" y="0"/>
                </a:moveTo>
                <a:cubicBezTo>
                  <a:pt x="722" y="0"/>
                  <a:pt x="637" y="39"/>
                  <a:pt x="576" y="101"/>
                </a:cubicBezTo>
                <a:cubicBezTo>
                  <a:pt x="635" y="162"/>
                  <a:pt x="672" y="244"/>
                  <a:pt x="672" y="336"/>
                </a:cubicBezTo>
                <a:cubicBezTo>
                  <a:pt x="672" y="428"/>
                  <a:pt x="635" y="510"/>
                  <a:pt x="576" y="571"/>
                </a:cubicBezTo>
                <a:cubicBezTo>
                  <a:pt x="637" y="633"/>
                  <a:pt x="722" y="672"/>
                  <a:pt x="816" y="672"/>
                </a:cubicBezTo>
                <a:cubicBezTo>
                  <a:pt x="1002" y="672"/>
                  <a:pt x="1152" y="522"/>
                  <a:pt x="1152" y="336"/>
                </a:cubicBezTo>
                <a:cubicBezTo>
                  <a:pt x="1152" y="150"/>
                  <a:pt x="1002" y="0"/>
                  <a:pt x="81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313AD1CC-C06E-4A42-BA4C-69C484DC0B1F}"/>
              </a:ext>
            </a:extLst>
          </p:cNvPr>
          <p:cNvGrpSpPr>
            <a:grpSpLocks noChangeAspect="1"/>
          </p:cNvGrpSpPr>
          <p:nvPr/>
        </p:nvGrpSpPr>
        <p:grpSpPr>
          <a:xfrm>
            <a:off x="4083349" y="4551539"/>
            <a:ext cx="270000" cy="270000"/>
            <a:chOff x="8373533" y="48106486"/>
            <a:chExt cx="822325" cy="822325"/>
          </a:xfrm>
          <a:solidFill>
            <a:schemeClr val="tx1"/>
          </a:solidFill>
        </p:grpSpPr>
        <p:sp>
          <p:nvSpPr>
            <p:cNvPr id="191" name="Freeform 74">
              <a:extLst>
                <a:ext uri="{FF2B5EF4-FFF2-40B4-BE49-F238E27FC236}">
                  <a16:creationId xmlns:a16="http://schemas.microsoft.com/office/drawing/2014/main" id="{CB3F99DC-67BD-431F-BC93-9CE93300F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75">
              <a:extLst>
                <a:ext uri="{FF2B5EF4-FFF2-40B4-BE49-F238E27FC236}">
                  <a16:creationId xmlns:a16="http://schemas.microsoft.com/office/drawing/2014/main" id="{7DC43815-BC8E-4540-B9E4-EA0423F6D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Oval 76">
              <a:extLst>
                <a:ext uri="{FF2B5EF4-FFF2-40B4-BE49-F238E27FC236}">
                  <a16:creationId xmlns:a16="http://schemas.microsoft.com/office/drawing/2014/main" id="{F7462496-C6E5-4643-A9AB-D47CDF3A5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4A13931-A98F-415B-9EE2-86417EE76851}"/>
              </a:ext>
            </a:extLst>
          </p:cNvPr>
          <p:cNvGrpSpPr>
            <a:grpSpLocks/>
          </p:cNvGrpSpPr>
          <p:nvPr/>
        </p:nvGrpSpPr>
        <p:grpSpPr>
          <a:xfrm>
            <a:off x="209374" y="5792584"/>
            <a:ext cx="270000" cy="270000"/>
            <a:chOff x="9857502" y="48105692"/>
            <a:chExt cx="822325" cy="823912"/>
          </a:xfrm>
          <a:solidFill>
            <a:schemeClr val="tx1"/>
          </a:solidFill>
        </p:grpSpPr>
        <p:sp>
          <p:nvSpPr>
            <p:cNvPr id="195" name="Freeform 80">
              <a:extLst>
                <a:ext uri="{FF2B5EF4-FFF2-40B4-BE49-F238E27FC236}">
                  <a16:creationId xmlns:a16="http://schemas.microsoft.com/office/drawing/2014/main" id="{9BE89F4A-E198-4C8E-9105-640B5192F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81">
              <a:extLst>
                <a:ext uri="{FF2B5EF4-FFF2-40B4-BE49-F238E27FC236}">
                  <a16:creationId xmlns:a16="http://schemas.microsoft.com/office/drawing/2014/main" id="{61EC4B7B-1578-4232-BC9D-9D8C364C6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82">
              <a:extLst>
                <a:ext uri="{FF2B5EF4-FFF2-40B4-BE49-F238E27FC236}">
                  <a16:creationId xmlns:a16="http://schemas.microsoft.com/office/drawing/2014/main" id="{9C108D51-AEB0-43E0-9903-575CD1CD95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8" name="Freeform 96">
            <a:extLst>
              <a:ext uri="{FF2B5EF4-FFF2-40B4-BE49-F238E27FC236}">
                <a16:creationId xmlns:a16="http://schemas.microsoft.com/office/drawing/2014/main" id="{D5A0ECCF-5B19-4542-8333-6357F92F676D}"/>
              </a:ext>
            </a:extLst>
          </p:cNvPr>
          <p:cNvSpPr>
            <a:spLocks noEditPoints="1"/>
          </p:cNvSpPr>
          <p:nvPr/>
        </p:nvSpPr>
        <p:spPr bwMode="auto">
          <a:xfrm>
            <a:off x="226916" y="6974592"/>
            <a:ext cx="270000" cy="270000"/>
          </a:xfrm>
          <a:custGeom>
            <a:avLst/>
            <a:gdLst>
              <a:gd name="T0" fmla="*/ 1152 w 1152"/>
              <a:gd name="T1" fmla="*/ 336 h 1152"/>
              <a:gd name="T2" fmla="*/ 1062 w 1152"/>
              <a:gd name="T3" fmla="*/ 312 h 1152"/>
              <a:gd name="T4" fmla="*/ 774 w 1152"/>
              <a:gd name="T5" fmla="*/ 168 h 1152"/>
              <a:gd name="T6" fmla="*/ 1104 w 1152"/>
              <a:gd name="T7" fmla="*/ 192 h 1152"/>
              <a:gd name="T8" fmla="*/ 1104 w 1152"/>
              <a:gd name="T9" fmla="*/ 96 h 1152"/>
              <a:gd name="T10" fmla="*/ 731 w 1152"/>
              <a:gd name="T11" fmla="*/ 120 h 1152"/>
              <a:gd name="T12" fmla="*/ 0 w 1152"/>
              <a:gd name="T13" fmla="*/ 432 h 1152"/>
              <a:gd name="T14" fmla="*/ 336 w 1152"/>
              <a:gd name="T15" fmla="*/ 912 h 1152"/>
              <a:gd name="T16" fmla="*/ 768 w 1152"/>
              <a:gd name="T17" fmla="*/ 1152 h 1152"/>
              <a:gd name="T18" fmla="*/ 847 w 1152"/>
              <a:gd name="T19" fmla="*/ 552 h 1152"/>
              <a:gd name="T20" fmla="*/ 1104 w 1152"/>
              <a:gd name="T21" fmla="*/ 576 h 1152"/>
              <a:gd name="T22" fmla="*/ 1104 w 1152"/>
              <a:gd name="T23" fmla="*/ 480 h 1152"/>
              <a:gd name="T24" fmla="*/ 858 w 1152"/>
              <a:gd name="T25" fmla="*/ 504 h 1152"/>
              <a:gd name="T26" fmla="*/ 858 w 1152"/>
              <a:gd name="T27" fmla="*/ 360 h 1152"/>
              <a:gd name="T28" fmla="*/ 1104 w 1152"/>
              <a:gd name="T29" fmla="*/ 384 h 1152"/>
              <a:gd name="T30" fmla="*/ 760 w 1152"/>
              <a:gd name="T31" fmla="*/ 504 h 1152"/>
              <a:gd name="T32" fmla="*/ 670 w 1152"/>
              <a:gd name="T33" fmla="*/ 444 h 1152"/>
              <a:gd name="T34" fmla="*/ 624 w 1152"/>
              <a:gd name="T35" fmla="*/ 384 h 1152"/>
              <a:gd name="T36" fmla="*/ 624 w 1152"/>
              <a:gd name="T37" fmla="*/ 480 h 1152"/>
              <a:gd name="T38" fmla="*/ 710 w 1152"/>
              <a:gd name="T39" fmla="*/ 552 h 1152"/>
              <a:gd name="T40" fmla="*/ 670 w 1152"/>
              <a:gd name="T41" fmla="*/ 670 h 1152"/>
              <a:gd name="T42" fmla="*/ 96 w 1152"/>
              <a:gd name="T43" fmla="*/ 432 h 1152"/>
              <a:gd name="T44" fmla="*/ 596 w 1152"/>
              <a:gd name="T45" fmla="*/ 139 h 1152"/>
              <a:gd name="T46" fmla="*/ 528 w 1152"/>
              <a:gd name="T47" fmla="*/ 192 h 1152"/>
              <a:gd name="T48" fmla="*/ 528 w 1152"/>
              <a:gd name="T49" fmla="*/ 288 h 1152"/>
              <a:gd name="T50" fmla="*/ 574 w 1152"/>
              <a:gd name="T51" fmla="*/ 228 h 1152"/>
              <a:gd name="T52" fmla="*/ 640 w 1152"/>
              <a:gd name="T53" fmla="*/ 168 h 1152"/>
              <a:gd name="T54" fmla="*/ 442 w 1152"/>
              <a:gd name="T55" fmla="*/ 312 h 1152"/>
              <a:gd name="T56" fmla="*/ 384 w 1152"/>
              <a:gd name="T57" fmla="*/ 240 h 1152"/>
              <a:gd name="T58" fmla="*/ 288 w 1152"/>
              <a:gd name="T59" fmla="*/ 240 h 1152"/>
              <a:gd name="T60" fmla="*/ 348 w 1152"/>
              <a:gd name="T61" fmla="*/ 286 h 1152"/>
              <a:gd name="T62" fmla="*/ 760 w 1152"/>
              <a:gd name="T63" fmla="*/ 360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52" h="1152">
                <a:moveTo>
                  <a:pt x="1104" y="384"/>
                </a:moveTo>
                <a:cubicBezTo>
                  <a:pt x="1131" y="384"/>
                  <a:pt x="1152" y="363"/>
                  <a:pt x="1152" y="336"/>
                </a:cubicBezTo>
                <a:cubicBezTo>
                  <a:pt x="1152" y="309"/>
                  <a:pt x="1131" y="288"/>
                  <a:pt x="1104" y="288"/>
                </a:cubicBezTo>
                <a:cubicBezTo>
                  <a:pt x="1086" y="288"/>
                  <a:pt x="1071" y="298"/>
                  <a:pt x="1062" y="312"/>
                </a:cubicBezTo>
                <a:cubicBezTo>
                  <a:pt x="847" y="312"/>
                  <a:pt x="847" y="312"/>
                  <a:pt x="847" y="312"/>
                </a:cubicBezTo>
                <a:cubicBezTo>
                  <a:pt x="832" y="259"/>
                  <a:pt x="807" y="210"/>
                  <a:pt x="774" y="168"/>
                </a:cubicBezTo>
                <a:cubicBezTo>
                  <a:pt x="1062" y="168"/>
                  <a:pt x="1062" y="168"/>
                  <a:pt x="1062" y="168"/>
                </a:cubicBezTo>
                <a:cubicBezTo>
                  <a:pt x="1071" y="182"/>
                  <a:pt x="1086" y="192"/>
                  <a:pt x="1104" y="192"/>
                </a:cubicBezTo>
                <a:cubicBezTo>
                  <a:pt x="1131" y="192"/>
                  <a:pt x="1152" y="171"/>
                  <a:pt x="1152" y="144"/>
                </a:cubicBezTo>
                <a:cubicBezTo>
                  <a:pt x="1152" y="117"/>
                  <a:pt x="1131" y="96"/>
                  <a:pt x="1104" y="96"/>
                </a:cubicBezTo>
                <a:cubicBezTo>
                  <a:pt x="1086" y="96"/>
                  <a:pt x="1071" y="106"/>
                  <a:pt x="1062" y="120"/>
                </a:cubicBezTo>
                <a:cubicBezTo>
                  <a:pt x="731" y="120"/>
                  <a:pt x="731" y="120"/>
                  <a:pt x="731" y="120"/>
                </a:cubicBezTo>
                <a:cubicBezTo>
                  <a:pt x="653" y="46"/>
                  <a:pt x="548" y="0"/>
                  <a:pt x="432" y="0"/>
                </a:cubicBezTo>
                <a:cubicBezTo>
                  <a:pt x="193" y="0"/>
                  <a:pt x="0" y="193"/>
                  <a:pt x="0" y="432"/>
                </a:cubicBezTo>
                <a:cubicBezTo>
                  <a:pt x="0" y="912"/>
                  <a:pt x="0" y="912"/>
                  <a:pt x="0" y="912"/>
                </a:cubicBezTo>
                <a:cubicBezTo>
                  <a:pt x="336" y="912"/>
                  <a:pt x="336" y="912"/>
                  <a:pt x="336" y="912"/>
                </a:cubicBezTo>
                <a:cubicBezTo>
                  <a:pt x="336" y="1152"/>
                  <a:pt x="336" y="1152"/>
                  <a:pt x="336" y="1152"/>
                </a:cubicBezTo>
                <a:cubicBezTo>
                  <a:pt x="768" y="1152"/>
                  <a:pt x="768" y="1152"/>
                  <a:pt x="768" y="1152"/>
                </a:cubicBezTo>
                <a:cubicBezTo>
                  <a:pt x="768" y="704"/>
                  <a:pt x="768" y="704"/>
                  <a:pt x="768" y="704"/>
                </a:cubicBezTo>
                <a:cubicBezTo>
                  <a:pt x="804" y="659"/>
                  <a:pt x="831" y="608"/>
                  <a:pt x="847" y="552"/>
                </a:cubicBezTo>
                <a:cubicBezTo>
                  <a:pt x="1062" y="552"/>
                  <a:pt x="1062" y="552"/>
                  <a:pt x="1062" y="552"/>
                </a:cubicBezTo>
                <a:cubicBezTo>
                  <a:pt x="1071" y="566"/>
                  <a:pt x="1086" y="576"/>
                  <a:pt x="1104" y="576"/>
                </a:cubicBezTo>
                <a:cubicBezTo>
                  <a:pt x="1131" y="576"/>
                  <a:pt x="1152" y="555"/>
                  <a:pt x="1152" y="528"/>
                </a:cubicBezTo>
                <a:cubicBezTo>
                  <a:pt x="1152" y="501"/>
                  <a:pt x="1131" y="480"/>
                  <a:pt x="1104" y="480"/>
                </a:cubicBezTo>
                <a:cubicBezTo>
                  <a:pt x="1086" y="480"/>
                  <a:pt x="1071" y="490"/>
                  <a:pt x="1062" y="504"/>
                </a:cubicBezTo>
                <a:cubicBezTo>
                  <a:pt x="858" y="504"/>
                  <a:pt x="858" y="504"/>
                  <a:pt x="858" y="504"/>
                </a:cubicBezTo>
                <a:cubicBezTo>
                  <a:pt x="862" y="481"/>
                  <a:pt x="864" y="457"/>
                  <a:pt x="864" y="432"/>
                </a:cubicBezTo>
                <a:cubicBezTo>
                  <a:pt x="864" y="407"/>
                  <a:pt x="862" y="383"/>
                  <a:pt x="858" y="360"/>
                </a:cubicBezTo>
                <a:cubicBezTo>
                  <a:pt x="1062" y="360"/>
                  <a:pt x="1062" y="360"/>
                  <a:pt x="1062" y="360"/>
                </a:cubicBezTo>
                <a:cubicBezTo>
                  <a:pt x="1071" y="374"/>
                  <a:pt x="1086" y="384"/>
                  <a:pt x="1104" y="384"/>
                </a:cubicBezTo>
                <a:close/>
                <a:moveTo>
                  <a:pt x="768" y="432"/>
                </a:moveTo>
                <a:cubicBezTo>
                  <a:pt x="768" y="457"/>
                  <a:pt x="765" y="481"/>
                  <a:pt x="760" y="504"/>
                </a:cubicBezTo>
                <a:cubicBezTo>
                  <a:pt x="730" y="504"/>
                  <a:pt x="730" y="504"/>
                  <a:pt x="730" y="504"/>
                </a:cubicBezTo>
                <a:cubicBezTo>
                  <a:pt x="670" y="444"/>
                  <a:pt x="670" y="444"/>
                  <a:pt x="670" y="444"/>
                </a:cubicBezTo>
                <a:cubicBezTo>
                  <a:pt x="671" y="440"/>
                  <a:pt x="672" y="436"/>
                  <a:pt x="672" y="432"/>
                </a:cubicBezTo>
                <a:cubicBezTo>
                  <a:pt x="672" y="405"/>
                  <a:pt x="651" y="384"/>
                  <a:pt x="624" y="384"/>
                </a:cubicBezTo>
                <a:cubicBezTo>
                  <a:pt x="597" y="384"/>
                  <a:pt x="576" y="405"/>
                  <a:pt x="576" y="432"/>
                </a:cubicBezTo>
                <a:cubicBezTo>
                  <a:pt x="576" y="459"/>
                  <a:pt x="597" y="480"/>
                  <a:pt x="624" y="480"/>
                </a:cubicBezTo>
                <a:cubicBezTo>
                  <a:pt x="628" y="480"/>
                  <a:pt x="632" y="479"/>
                  <a:pt x="636" y="478"/>
                </a:cubicBezTo>
                <a:cubicBezTo>
                  <a:pt x="710" y="552"/>
                  <a:pt x="710" y="552"/>
                  <a:pt x="710" y="552"/>
                </a:cubicBezTo>
                <a:cubicBezTo>
                  <a:pt x="746" y="552"/>
                  <a:pt x="746" y="552"/>
                  <a:pt x="746" y="552"/>
                </a:cubicBezTo>
                <a:cubicBezTo>
                  <a:pt x="729" y="597"/>
                  <a:pt x="703" y="636"/>
                  <a:pt x="670" y="670"/>
                </a:cubicBezTo>
                <a:cubicBezTo>
                  <a:pt x="432" y="432"/>
                  <a:pt x="432" y="432"/>
                  <a:pt x="432" y="432"/>
                </a:cubicBezTo>
                <a:cubicBezTo>
                  <a:pt x="96" y="432"/>
                  <a:pt x="96" y="432"/>
                  <a:pt x="96" y="432"/>
                </a:cubicBezTo>
                <a:cubicBezTo>
                  <a:pt x="96" y="246"/>
                  <a:pt x="246" y="96"/>
                  <a:pt x="432" y="96"/>
                </a:cubicBezTo>
                <a:cubicBezTo>
                  <a:pt x="491" y="96"/>
                  <a:pt x="547" y="111"/>
                  <a:pt x="596" y="139"/>
                </a:cubicBezTo>
                <a:cubicBezTo>
                  <a:pt x="540" y="194"/>
                  <a:pt x="540" y="194"/>
                  <a:pt x="540" y="194"/>
                </a:cubicBezTo>
                <a:cubicBezTo>
                  <a:pt x="536" y="193"/>
                  <a:pt x="532" y="192"/>
                  <a:pt x="528" y="192"/>
                </a:cubicBezTo>
                <a:cubicBezTo>
                  <a:pt x="501" y="192"/>
                  <a:pt x="480" y="213"/>
                  <a:pt x="480" y="240"/>
                </a:cubicBezTo>
                <a:cubicBezTo>
                  <a:pt x="480" y="267"/>
                  <a:pt x="501" y="288"/>
                  <a:pt x="528" y="288"/>
                </a:cubicBezTo>
                <a:cubicBezTo>
                  <a:pt x="555" y="288"/>
                  <a:pt x="576" y="267"/>
                  <a:pt x="576" y="240"/>
                </a:cubicBezTo>
                <a:cubicBezTo>
                  <a:pt x="576" y="236"/>
                  <a:pt x="575" y="232"/>
                  <a:pt x="574" y="228"/>
                </a:cubicBezTo>
                <a:cubicBezTo>
                  <a:pt x="634" y="168"/>
                  <a:pt x="634" y="168"/>
                  <a:pt x="634" y="168"/>
                </a:cubicBezTo>
                <a:cubicBezTo>
                  <a:pt x="640" y="168"/>
                  <a:pt x="640" y="168"/>
                  <a:pt x="640" y="168"/>
                </a:cubicBezTo>
                <a:cubicBezTo>
                  <a:pt x="687" y="205"/>
                  <a:pt x="724" y="255"/>
                  <a:pt x="746" y="312"/>
                </a:cubicBezTo>
                <a:cubicBezTo>
                  <a:pt x="442" y="312"/>
                  <a:pt x="442" y="312"/>
                  <a:pt x="442" y="312"/>
                </a:cubicBezTo>
                <a:cubicBezTo>
                  <a:pt x="382" y="252"/>
                  <a:pt x="382" y="252"/>
                  <a:pt x="382" y="252"/>
                </a:cubicBezTo>
                <a:cubicBezTo>
                  <a:pt x="383" y="248"/>
                  <a:pt x="384" y="244"/>
                  <a:pt x="384" y="240"/>
                </a:cubicBezTo>
                <a:cubicBezTo>
                  <a:pt x="384" y="213"/>
                  <a:pt x="363" y="192"/>
                  <a:pt x="336" y="192"/>
                </a:cubicBezTo>
                <a:cubicBezTo>
                  <a:pt x="309" y="192"/>
                  <a:pt x="288" y="213"/>
                  <a:pt x="288" y="240"/>
                </a:cubicBezTo>
                <a:cubicBezTo>
                  <a:pt x="288" y="267"/>
                  <a:pt x="309" y="288"/>
                  <a:pt x="336" y="288"/>
                </a:cubicBezTo>
                <a:cubicBezTo>
                  <a:pt x="340" y="288"/>
                  <a:pt x="344" y="287"/>
                  <a:pt x="348" y="286"/>
                </a:cubicBezTo>
                <a:cubicBezTo>
                  <a:pt x="422" y="360"/>
                  <a:pt x="422" y="360"/>
                  <a:pt x="422" y="360"/>
                </a:cubicBezTo>
                <a:cubicBezTo>
                  <a:pt x="760" y="360"/>
                  <a:pt x="760" y="360"/>
                  <a:pt x="760" y="360"/>
                </a:cubicBezTo>
                <a:cubicBezTo>
                  <a:pt x="765" y="383"/>
                  <a:pt x="768" y="407"/>
                  <a:pt x="768" y="4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9" name="Freeform 77">
            <a:extLst>
              <a:ext uri="{FF2B5EF4-FFF2-40B4-BE49-F238E27FC236}">
                <a16:creationId xmlns:a16="http://schemas.microsoft.com/office/drawing/2014/main" id="{210F515E-2D3F-451C-B87E-3ACBD81A968D}"/>
              </a:ext>
            </a:extLst>
          </p:cNvPr>
          <p:cNvSpPr>
            <a:spLocks noEditPoints="1"/>
          </p:cNvSpPr>
          <p:nvPr/>
        </p:nvSpPr>
        <p:spPr bwMode="auto">
          <a:xfrm>
            <a:off x="256034" y="2128485"/>
            <a:ext cx="270000" cy="270000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2" name="Arrow: Chevron 301">
            <a:extLst>
              <a:ext uri="{FF2B5EF4-FFF2-40B4-BE49-F238E27FC236}">
                <a16:creationId xmlns:a16="http://schemas.microsoft.com/office/drawing/2014/main" id="{7C8D3F18-89CA-4A4B-8DE0-3D8C870417DA}"/>
              </a:ext>
            </a:extLst>
          </p:cNvPr>
          <p:cNvSpPr/>
          <p:nvPr/>
        </p:nvSpPr>
        <p:spPr>
          <a:xfrm rot="5400000">
            <a:off x="11157127" y="5528184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3" name="Arrow: Chevron 302">
            <a:extLst>
              <a:ext uri="{FF2B5EF4-FFF2-40B4-BE49-F238E27FC236}">
                <a16:creationId xmlns:a16="http://schemas.microsoft.com/office/drawing/2014/main" id="{C1D5FD45-8C6D-4026-A8AE-A67DB899F520}"/>
              </a:ext>
            </a:extLst>
          </p:cNvPr>
          <p:cNvSpPr/>
          <p:nvPr/>
        </p:nvSpPr>
        <p:spPr>
          <a:xfrm rot="5400000">
            <a:off x="11170145" y="5991689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87" name="Oval 286">
            <a:extLst>
              <a:ext uri="{FF2B5EF4-FFF2-40B4-BE49-F238E27FC236}">
                <a16:creationId xmlns:a16="http://schemas.microsoft.com/office/drawing/2014/main" id="{C6A840A5-A763-4854-AF74-FDF6AF4479D0}"/>
              </a:ext>
            </a:extLst>
          </p:cNvPr>
          <p:cNvSpPr/>
          <p:nvPr/>
        </p:nvSpPr>
        <p:spPr>
          <a:xfrm>
            <a:off x="10658340" y="4643772"/>
            <a:ext cx="76882" cy="7688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B044409-7D48-48B2-A1F9-E5C39523A1F2}"/>
              </a:ext>
            </a:extLst>
          </p:cNvPr>
          <p:cNvSpPr txBox="1"/>
          <p:nvPr/>
        </p:nvSpPr>
        <p:spPr>
          <a:xfrm rot="-2700000">
            <a:off x="6688294" y="2685541"/>
            <a:ext cx="108876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00" b="1" i="1" dirty="0"/>
              <a:t>Create summary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7655700A-795C-4355-8B8F-2430276004AC}"/>
              </a:ext>
            </a:extLst>
          </p:cNvPr>
          <p:cNvSpPr txBox="1"/>
          <p:nvPr/>
        </p:nvSpPr>
        <p:spPr>
          <a:xfrm rot="16200000">
            <a:off x="6115031" y="3990169"/>
            <a:ext cx="10631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00" b="1" i="1" dirty="0"/>
              <a:t>Create roadmap</a:t>
            </a:r>
          </a:p>
        </p:txBody>
      </p:sp>
    </p:spTree>
    <p:extLst>
      <p:ext uri="{BB962C8B-B14F-4D97-AF65-F5344CB8AC3E}">
        <p14:creationId xmlns:p14="http://schemas.microsoft.com/office/powerpoint/2010/main" val="4612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EF6D0573-6E9A-43B1-9799-132B4142D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0200" y="648838"/>
            <a:ext cx="12892922" cy="1417636"/>
          </a:xfrm>
        </p:spPr>
        <p:txBody>
          <a:bodyPr>
            <a:normAutofit/>
          </a:bodyPr>
          <a:lstStyle/>
          <a:p>
            <a:r>
              <a:rPr lang="en-GB" sz="3600" dirty="0"/>
              <a:t>Client Goals to Outcomes with DXC Digital Explorer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242F2EF6-F2FE-4EA9-B261-5C5A8AD46AB6}"/>
              </a:ext>
            </a:extLst>
          </p:cNvPr>
          <p:cNvGrpSpPr/>
          <p:nvPr/>
        </p:nvGrpSpPr>
        <p:grpSpPr>
          <a:xfrm>
            <a:off x="7900059" y="1486030"/>
            <a:ext cx="4598172" cy="3071996"/>
            <a:chOff x="7990532" y="-2272963"/>
            <a:chExt cx="4538069" cy="4538069"/>
          </a:xfrm>
        </p:grpSpPr>
        <p:sp>
          <p:nvSpPr>
            <p:cNvPr id="149" name="Partial Circle 148">
              <a:extLst>
                <a:ext uri="{FF2B5EF4-FFF2-40B4-BE49-F238E27FC236}">
                  <a16:creationId xmlns:a16="http://schemas.microsoft.com/office/drawing/2014/main" id="{54DF1E55-DDAA-47A9-AD71-AB77D6C5D00A}"/>
                </a:ext>
              </a:extLst>
            </p:cNvPr>
            <p:cNvSpPr/>
            <p:nvPr/>
          </p:nvSpPr>
          <p:spPr>
            <a:xfrm>
              <a:off x="7990532" y="-2272963"/>
              <a:ext cx="4538069" cy="4538069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Partial Circle 149">
              <a:extLst>
                <a:ext uri="{FF2B5EF4-FFF2-40B4-BE49-F238E27FC236}">
                  <a16:creationId xmlns:a16="http://schemas.microsoft.com/office/drawing/2014/main" id="{63FA2C58-DB42-4944-932A-85955572273E}"/>
                </a:ext>
              </a:extLst>
            </p:cNvPr>
            <p:cNvSpPr/>
            <p:nvPr/>
          </p:nvSpPr>
          <p:spPr>
            <a:xfrm>
              <a:off x="8597878" y="-1665617"/>
              <a:ext cx="3323377" cy="33233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Partial Circle 150">
              <a:extLst>
                <a:ext uri="{FF2B5EF4-FFF2-40B4-BE49-F238E27FC236}">
                  <a16:creationId xmlns:a16="http://schemas.microsoft.com/office/drawing/2014/main" id="{C5FE6F8F-DA39-4CBE-9A27-72F9BEDEDB5E}"/>
                </a:ext>
              </a:extLst>
            </p:cNvPr>
            <p:cNvSpPr/>
            <p:nvPr/>
          </p:nvSpPr>
          <p:spPr>
            <a:xfrm>
              <a:off x="9039428" y="-1224067"/>
              <a:ext cx="2440277" cy="24402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AF7B25B-EA40-487B-9F75-0D369AC2F78F}"/>
              </a:ext>
            </a:extLst>
          </p:cNvPr>
          <p:cNvSpPr/>
          <p:nvPr/>
        </p:nvSpPr>
        <p:spPr>
          <a:xfrm>
            <a:off x="3915946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04F3C32-5880-4078-A585-2674D8D1D173}"/>
              </a:ext>
            </a:extLst>
          </p:cNvPr>
          <p:cNvSpPr/>
          <p:nvPr/>
        </p:nvSpPr>
        <p:spPr>
          <a:xfrm>
            <a:off x="440242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E86F0A2-407D-45E7-9B89-294866672A1C}"/>
              </a:ext>
            </a:extLst>
          </p:cNvPr>
          <p:cNvSpPr/>
          <p:nvPr/>
        </p:nvSpPr>
        <p:spPr>
          <a:xfrm>
            <a:off x="7406397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085E9E5-92C0-46EF-A5E7-F0B193764B7F}"/>
              </a:ext>
            </a:extLst>
          </p:cNvPr>
          <p:cNvSpPr/>
          <p:nvPr/>
        </p:nvSpPr>
        <p:spPr>
          <a:xfrm>
            <a:off x="10852603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18ED288F-531A-4593-A3F1-8D0243BFEF90}"/>
              </a:ext>
            </a:extLst>
          </p:cNvPr>
          <p:cNvSpPr/>
          <p:nvPr/>
        </p:nvSpPr>
        <p:spPr>
          <a:xfrm>
            <a:off x="440243" y="6301161"/>
            <a:ext cx="6833420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Workspaces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94666EE0-E32A-4720-A975-8825039CDF4F}"/>
              </a:ext>
            </a:extLst>
          </p:cNvPr>
          <p:cNvSpPr/>
          <p:nvPr/>
        </p:nvSpPr>
        <p:spPr>
          <a:xfrm>
            <a:off x="7401482" y="6301160"/>
            <a:ext cx="6788676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Roadmaps &amp; Solution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E337117C-2D7B-4E1B-BE4F-3B185CEF734B}"/>
              </a:ext>
            </a:extLst>
          </p:cNvPr>
          <p:cNvSpPr/>
          <p:nvPr/>
        </p:nvSpPr>
        <p:spPr>
          <a:xfrm rot="10800000">
            <a:off x="440242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9C1C95-C8A2-46BD-965E-0AF86C220C06}"/>
              </a:ext>
            </a:extLst>
          </p:cNvPr>
          <p:cNvSpPr txBox="1"/>
          <p:nvPr/>
        </p:nvSpPr>
        <p:spPr>
          <a:xfrm>
            <a:off x="595100" y="4847121"/>
            <a:ext cx="2974258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e all relevant client and industry information and upload into Digital Explorer Workspaces.</a:t>
            </a: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 the Client’s Digital Intent as smart connected content</a:t>
            </a: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7B05C02-D05B-4530-AE34-E04536E1144E}"/>
              </a:ext>
            </a:extLst>
          </p:cNvPr>
          <p:cNvSpPr/>
          <p:nvPr/>
        </p:nvSpPr>
        <p:spPr>
          <a:xfrm rot="10800000">
            <a:off x="3915946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E3A70A-62CD-4D8A-98E7-2CCFF6059DB2}"/>
              </a:ext>
            </a:extLst>
          </p:cNvPr>
          <p:cNvSpPr txBox="1"/>
          <p:nvPr/>
        </p:nvSpPr>
        <p:spPr>
          <a:xfrm>
            <a:off x="3965106" y="4927912"/>
            <a:ext cx="318565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 as a team to review and outline the DXC digital approach.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d recommendations 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eople and Solutions)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335486AB-9D5A-445F-9B92-D97AEA3D9F8E}"/>
              </a:ext>
            </a:extLst>
          </p:cNvPr>
          <p:cNvSpPr/>
          <p:nvPr/>
        </p:nvSpPr>
        <p:spPr>
          <a:xfrm rot="10800000">
            <a:off x="7401481" y="4832064"/>
            <a:ext cx="3283974" cy="1166520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22F9B-3DE6-4BBE-A248-EE05517DFB05}"/>
              </a:ext>
            </a:extLst>
          </p:cNvPr>
          <p:cNvSpPr txBox="1"/>
          <p:nvPr/>
        </p:nvSpPr>
        <p:spPr>
          <a:xfrm>
            <a:off x="7481368" y="4838243"/>
            <a:ext cx="312420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er team thinking into a DXC Digital Bluepri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rage the power of recommendations from all other blueprint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3985EBEF-92F7-47FD-9330-A80DBD1D068E}"/>
              </a:ext>
            </a:extLst>
          </p:cNvPr>
          <p:cNvSpPr/>
          <p:nvPr/>
        </p:nvSpPr>
        <p:spPr>
          <a:xfrm rot="10800000">
            <a:off x="10852603" y="4825782"/>
            <a:ext cx="3283974" cy="1173757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6260F4B6-6EB2-4AE4-9B3B-2666E5C096D5}"/>
              </a:ext>
            </a:extLst>
          </p:cNvPr>
          <p:cNvGrpSpPr/>
          <p:nvPr/>
        </p:nvGrpSpPr>
        <p:grpSpPr>
          <a:xfrm>
            <a:off x="4444827" y="3015631"/>
            <a:ext cx="2226213" cy="1539567"/>
            <a:chOff x="4385337" y="3015631"/>
            <a:chExt cx="2226213" cy="1539567"/>
          </a:xfrm>
        </p:grpSpPr>
        <p:sp>
          <p:nvSpPr>
            <p:cNvPr id="135" name="Freeform 65">
              <a:extLst>
                <a:ext uri="{FF2B5EF4-FFF2-40B4-BE49-F238E27FC236}">
                  <a16:creationId xmlns:a16="http://schemas.microsoft.com/office/drawing/2014/main" id="{F9347957-AE27-49AC-9AB3-1A98B89B5FB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54337" y="3015631"/>
              <a:ext cx="1155381" cy="1539567"/>
            </a:xfrm>
            <a:custGeom>
              <a:avLst/>
              <a:gdLst>
                <a:gd name="T0" fmla="*/ 432 w 864"/>
                <a:gd name="T1" fmla="*/ 0 h 1152"/>
                <a:gd name="T2" fmla="*/ 0 w 864"/>
                <a:gd name="T3" fmla="*/ 432 h 1152"/>
                <a:gd name="T4" fmla="*/ 240 w 864"/>
                <a:gd name="T5" fmla="*/ 819 h 1152"/>
                <a:gd name="T6" fmla="*/ 240 w 864"/>
                <a:gd name="T7" fmla="*/ 672 h 1152"/>
                <a:gd name="T8" fmla="*/ 624 w 864"/>
                <a:gd name="T9" fmla="*/ 672 h 1152"/>
                <a:gd name="T10" fmla="*/ 624 w 864"/>
                <a:gd name="T11" fmla="*/ 819 h 1152"/>
                <a:gd name="T12" fmla="*/ 864 w 864"/>
                <a:gd name="T13" fmla="*/ 432 h 1152"/>
                <a:gd name="T14" fmla="*/ 432 w 864"/>
                <a:gd name="T15" fmla="*/ 0 h 1152"/>
                <a:gd name="T16" fmla="*/ 432 w 864"/>
                <a:gd name="T17" fmla="*/ 528 h 1152"/>
                <a:gd name="T18" fmla="*/ 336 w 864"/>
                <a:gd name="T19" fmla="*/ 336 h 1152"/>
                <a:gd name="T20" fmla="*/ 528 w 864"/>
                <a:gd name="T21" fmla="*/ 336 h 1152"/>
                <a:gd name="T22" fmla="*/ 432 w 864"/>
                <a:gd name="T23" fmla="*/ 528 h 1152"/>
                <a:gd name="T24" fmla="*/ 624 w 864"/>
                <a:gd name="T25" fmla="*/ 819 h 1152"/>
                <a:gd name="T26" fmla="*/ 624 w 864"/>
                <a:gd name="T27" fmla="*/ 960 h 1152"/>
                <a:gd name="T28" fmla="*/ 432 w 864"/>
                <a:gd name="T29" fmla="*/ 1152 h 1152"/>
                <a:gd name="T30" fmla="*/ 240 w 864"/>
                <a:gd name="T31" fmla="*/ 960 h 1152"/>
                <a:gd name="T32" fmla="*/ 240 w 864"/>
                <a:gd name="T33" fmla="*/ 819 h 1152"/>
                <a:gd name="T34" fmla="*/ 432 w 864"/>
                <a:gd name="T35" fmla="*/ 864 h 1152"/>
                <a:gd name="T36" fmla="*/ 624 w 864"/>
                <a:gd name="T37" fmla="*/ 819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" h="1152">
                  <a:moveTo>
                    <a:pt x="432" y="0"/>
                  </a:moveTo>
                  <a:cubicBezTo>
                    <a:pt x="193" y="0"/>
                    <a:pt x="0" y="193"/>
                    <a:pt x="0" y="432"/>
                  </a:cubicBezTo>
                  <a:cubicBezTo>
                    <a:pt x="0" y="602"/>
                    <a:pt x="98" y="748"/>
                    <a:pt x="240" y="819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624" y="672"/>
                    <a:pt x="624" y="672"/>
                    <a:pt x="624" y="672"/>
                  </a:cubicBezTo>
                  <a:cubicBezTo>
                    <a:pt x="624" y="819"/>
                    <a:pt x="624" y="819"/>
                    <a:pt x="624" y="819"/>
                  </a:cubicBezTo>
                  <a:cubicBezTo>
                    <a:pt x="766" y="748"/>
                    <a:pt x="864" y="602"/>
                    <a:pt x="864" y="432"/>
                  </a:cubicBezTo>
                  <a:cubicBezTo>
                    <a:pt x="864" y="193"/>
                    <a:pt x="671" y="0"/>
                    <a:pt x="432" y="0"/>
                  </a:cubicBezTo>
                  <a:close/>
                  <a:moveTo>
                    <a:pt x="432" y="528"/>
                  </a:moveTo>
                  <a:cubicBezTo>
                    <a:pt x="336" y="336"/>
                    <a:pt x="336" y="336"/>
                    <a:pt x="336" y="336"/>
                  </a:cubicBezTo>
                  <a:cubicBezTo>
                    <a:pt x="528" y="336"/>
                    <a:pt x="528" y="336"/>
                    <a:pt x="528" y="336"/>
                  </a:cubicBezTo>
                  <a:lnTo>
                    <a:pt x="432" y="528"/>
                  </a:lnTo>
                  <a:close/>
                  <a:moveTo>
                    <a:pt x="624" y="819"/>
                  </a:moveTo>
                  <a:cubicBezTo>
                    <a:pt x="624" y="960"/>
                    <a:pt x="624" y="960"/>
                    <a:pt x="624" y="960"/>
                  </a:cubicBezTo>
                  <a:cubicBezTo>
                    <a:pt x="624" y="1066"/>
                    <a:pt x="538" y="1152"/>
                    <a:pt x="432" y="1152"/>
                  </a:cubicBezTo>
                  <a:cubicBezTo>
                    <a:pt x="326" y="1152"/>
                    <a:pt x="240" y="1066"/>
                    <a:pt x="240" y="960"/>
                  </a:cubicBezTo>
                  <a:cubicBezTo>
                    <a:pt x="240" y="819"/>
                    <a:pt x="240" y="819"/>
                    <a:pt x="240" y="819"/>
                  </a:cubicBezTo>
                  <a:cubicBezTo>
                    <a:pt x="298" y="848"/>
                    <a:pt x="363" y="864"/>
                    <a:pt x="432" y="864"/>
                  </a:cubicBezTo>
                  <a:cubicBezTo>
                    <a:pt x="501" y="864"/>
                    <a:pt x="566" y="848"/>
                    <a:pt x="624" y="8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9">
              <a:extLst>
                <a:ext uri="{FF2B5EF4-FFF2-40B4-BE49-F238E27FC236}">
                  <a16:creationId xmlns:a16="http://schemas.microsoft.com/office/drawing/2014/main" id="{6378E62C-6527-4F4E-BFA4-088DAF8E0F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85337" y="3302433"/>
              <a:ext cx="790335" cy="724860"/>
            </a:xfrm>
            <a:custGeom>
              <a:avLst/>
              <a:gdLst>
                <a:gd name="T0" fmla="*/ 576 w 1152"/>
                <a:gd name="T1" fmla="*/ 288 h 1056"/>
                <a:gd name="T2" fmla="*/ 768 w 1152"/>
                <a:gd name="T3" fmla="*/ 480 h 1056"/>
                <a:gd name="T4" fmla="*/ 768 w 1152"/>
                <a:gd name="T5" fmla="*/ 672 h 1056"/>
                <a:gd name="T6" fmla="*/ 576 w 1152"/>
                <a:gd name="T7" fmla="*/ 480 h 1056"/>
                <a:gd name="T8" fmla="*/ 384 w 1152"/>
                <a:gd name="T9" fmla="*/ 672 h 1056"/>
                <a:gd name="T10" fmla="*/ 384 w 1152"/>
                <a:gd name="T11" fmla="*/ 480 h 1056"/>
                <a:gd name="T12" fmla="*/ 576 w 1152"/>
                <a:gd name="T13" fmla="*/ 288 h 1056"/>
                <a:gd name="T14" fmla="*/ 720 w 1152"/>
                <a:gd name="T15" fmla="*/ 144 h 1056"/>
                <a:gd name="T16" fmla="*/ 576 w 1152"/>
                <a:gd name="T17" fmla="*/ 0 h 1056"/>
                <a:gd name="T18" fmla="*/ 432 w 1152"/>
                <a:gd name="T19" fmla="*/ 144 h 1056"/>
                <a:gd name="T20" fmla="*/ 576 w 1152"/>
                <a:gd name="T21" fmla="*/ 288 h 1056"/>
                <a:gd name="T22" fmla="*/ 720 w 1152"/>
                <a:gd name="T23" fmla="*/ 144 h 1056"/>
                <a:gd name="T24" fmla="*/ 336 w 1152"/>
                <a:gd name="T25" fmla="*/ 528 h 1056"/>
                <a:gd name="T26" fmla="*/ 192 w 1152"/>
                <a:gd name="T27" fmla="*/ 384 h 1056"/>
                <a:gd name="T28" fmla="*/ 48 w 1152"/>
                <a:gd name="T29" fmla="*/ 528 h 1056"/>
                <a:gd name="T30" fmla="*/ 192 w 1152"/>
                <a:gd name="T31" fmla="*/ 672 h 1056"/>
                <a:gd name="T32" fmla="*/ 336 w 1152"/>
                <a:gd name="T33" fmla="*/ 528 h 1056"/>
                <a:gd name="T34" fmla="*/ 328 w 1152"/>
                <a:gd name="T35" fmla="*/ 728 h 1056"/>
                <a:gd name="T36" fmla="*/ 192 w 1152"/>
                <a:gd name="T37" fmla="*/ 672 h 1056"/>
                <a:gd name="T38" fmla="*/ 0 w 1152"/>
                <a:gd name="T39" fmla="*/ 864 h 1056"/>
                <a:gd name="T40" fmla="*/ 0 w 1152"/>
                <a:gd name="T41" fmla="*/ 1056 h 1056"/>
                <a:gd name="T42" fmla="*/ 384 w 1152"/>
                <a:gd name="T43" fmla="*/ 1056 h 1056"/>
                <a:gd name="T44" fmla="*/ 384 w 1152"/>
                <a:gd name="T45" fmla="*/ 864 h 1056"/>
                <a:gd name="T46" fmla="*/ 192 w 1152"/>
                <a:gd name="T47" fmla="*/ 864 h 1056"/>
                <a:gd name="T48" fmla="*/ 328 w 1152"/>
                <a:gd name="T49" fmla="*/ 728 h 1056"/>
                <a:gd name="T50" fmla="*/ 1104 w 1152"/>
                <a:gd name="T51" fmla="*/ 528 h 1056"/>
                <a:gd name="T52" fmla="*/ 960 w 1152"/>
                <a:gd name="T53" fmla="*/ 384 h 1056"/>
                <a:gd name="T54" fmla="*/ 816 w 1152"/>
                <a:gd name="T55" fmla="*/ 528 h 1056"/>
                <a:gd name="T56" fmla="*/ 960 w 1152"/>
                <a:gd name="T57" fmla="*/ 672 h 1056"/>
                <a:gd name="T58" fmla="*/ 1104 w 1152"/>
                <a:gd name="T59" fmla="*/ 528 h 1056"/>
                <a:gd name="T60" fmla="*/ 960 w 1152"/>
                <a:gd name="T61" fmla="*/ 672 h 1056"/>
                <a:gd name="T62" fmla="*/ 824 w 1152"/>
                <a:gd name="T63" fmla="*/ 728 h 1056"/>
                <a:gd name="T64" fmla="*/ 960 w 1152"/>
                <a:gd name="T65" fmla="*/ 864 h 1056"/>
                <a:gd name="T66" fmla="*/ 768 w 1152"/>
                <a:gd name="T67" fmla="*/ 864 h 1056"/>
                <a:gd name="T68" fmla="*/ 768 w 1152"/>
                <a:gd name="T69" fmla="*/ 1056 h 1056"/>
                <a:gd name="T70" fmla="*/ 1152 w 1152"/>
                <a:gd name="T71" fmla="*/ 1056 h 1056"/>
                <a:gd name="T72" fmla="*/ 1152 w 1152"/>
                <a:gd name="T73" fmla="*/ 864 h 1056"/>
                <a:gd name="T74" fmla="*/ 960 w 1152"/>
                <a:gd name="T75" fmla="*/ 672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2" h="1056">
                  <a:moveTo>
                    <a:pt x="576" y="288"/>
                  </a:moveTo>
                  <a:cubicBezTo>
                    <a:pt x="682" y="288"/>
                    <a:pt x="768" y="374"/>
                    <a:pt x="768" y="480"/>
                  </a:cubicBezTo>
                  <a:cubicBezTo>
                    <a:pt x="768" y="672"/>
                    <a:pt x="768" y="672"/>
                    <a:pt x="768" y="672"/>
                  </a:cubicBezTo>
                  <a:cubicBezTo>
                    <a:pt x="576" y="480"/>
                    <a:pt x="576" y="480"/>
                    <a:pt x="576" y="480"/>
                  </a:cubicBezTo>
                  <a:cubicBezTo>
                    <a:pt x="384" y="672"/>
                    <a:pt x="384" y="672"/>
                    <a:pt x="384" y="672"/>
                  </a:cubicBezTo>
                  <a:cubicBezTo>
                    <a:pt x="384" y="480"/>
                    <a:pt x="384" y="480"/>
                    <a:pt x="384" y="480"/>
                  </a:cubicBezTo>
                  <a:cubicBezTo>
                    <a:pt x="384" y="374"/>
                    <a:pt x="470" y="288"/>
                    <a:pt x="576" y="288"/>
                  </a:cubicBezTo>
                  <a:close/>
                  <a:moveTo>
                    <a:pt x="720" y="144"/>
                  </a:moveTo>
                  <a:cubicBezTo>
                    <a:pt x="720" y="64"/>
                    <a:pt x="656" y="0"/>
                    <a:pt x="576" y="0"/>
                  </a:cubicBezTo>
                  <a:cubicBezTo>
                    <a:pt x="496" y="0"/>
                    <a:pt x="432" y="64"/>
                    <a:pt x="432" y="144"/>
                  </a:cubicBezTo>
                  <a:cubicBezTo>
                    <a:pt x="432" y="224"/>
                    <a:pt x="496" y="288"/>
                    <a:pt x="576" y="288"/>
                  </a:cubicBezTo>
                  <a:cubicBezTo>
                    <a:pt x="656" y="288"/>
                    <a:pt x="720" y="224"/>
                    <a:pt x="720" y="144"/>
                  </a:cubicBezTo>
                  <a:close/>
                  <a:moveTo>
                    <a:pt x="336" y="528"/>
                  </a:moveTo>
                  <a:cubicBezTo>
                    <a:pt x="336" y="448"/>
                    <a:pt x="272" y="384"/>
                    <a:pt x="192" y="384"/>
                  </a:cubicBezTo>
                  <a:cubicBezTo>
                    <a:pt x="112" y="384"/>
                    <a:pt x="48" y="448"/>
                    <a:pt x="48" y="528"/>
                  </a:cubicBezTo>
                  <a:cubicBezTo>
                    <a:pt x="48" y="608"/>
                    <a:pt x="112" y="672"/>
                    <a:pt x="192" y="672"/>
                  </a:cubicBezTo>
                  <a:cubicBezTo>
                    <a:pt x="272" y="672"/>
                    <a:pt x="336" y="608"/>
                    <a:pt x="336" y="528"/>
                  </a:cubicBezTo>
                  <a:close/>
                  <a:moveTo>
                    <a:pt x="328" y="728"/>
                  </a:moveTo>
                  <a:cubicBezTo>
                    <a:pt x="293" y="693"/>
                    <a:pt x="245" y="672"/>
                    <a:pt x="192" y="672"/>
                  </a:cubicBezTo>
                  <a:cubicBezTo>
                    <a:pt x="86" y="672"/>
                    <a:pt x="0" y="758"/>
                    <a:pt x="0" y="864"/>
                  </a:cubicBezTo>
                  <a:cubicBezTo>
                    <a:pt x="0" y="1056"/>
                    <a:pt x="0" y="1056"/>
                    <a:pt x="0" y="1056"/>
                  </a:cubicBezTo>
                  <a:cubicBezTo>
                    <a:pt x="384" y="1056"/>
                    <a:pt x="384" y="1056"/>
                    <a:pt x="384" y="1056"/>
                  </a:cubicBezTo>
                  <a:cubicBezTo>
                    <a:pt x="384" y="864"/>
                    <a:pt x="384" y="864"/>
                    <a:pt x="384" y="864"/>
                  </a:cubicBezTo>
                  <a:cubicBezTo>
                    <a:pt x="192" y="864"/>
                    <a:pt x="192" y="864"/>
                    <a:pt x="192" y="864"/>
                  </a:cubicBezTo>
                  <a:lnTo>
                    <a:pt x="328" y="728"/>
                  </a:lnTo>
                  <a:close/>
                  <a:moveTo>
                    <a:pt x="1104" y="528"/>
                  </a:moveTo>
                  <a:cubicBezTo>
                    <a:pt x="1104" y="448"/>
                    <a:pt x="1040" y="384"/>
                    <a:pt x="960" y="384"/>
                  </a:cubicBezTo>
                  <a:cubicBezTo>
                    <a:pt x="880" y="384"/>
                    <a:pt x="816" y="448"/>
                    <a:pt x="816" y="528"/>
                  </a:cubicBezTo>
                  <a:cubicBezTo>
                    <a:pt x="816" y="608"/>
                    <a:pt x="880" y="672"/>
                    <a:pt x="960" y="672"/>
                  </a:cubicBezTo>
                  <a:cubicBezTo>
                    <a:pt x="1040" y="672"/>
                    <a:pt x="1104" y="608"/>
                    <a:pt x="1104" y="528"/>
                  </a:cubicBezTo>
                  <a:close/>
                  <a:moveTo>
                    <a:pt x="960" y="672"/>
                  </a:moveTo>
                  <a:cubicBezTo>
                    <a:pt x="907" y="672"/>
                    <a:pt x="859" y="693"/>
                    <a:pt x="824" y="728"/>
                  </a:cubicBezTo>
                  <a:cubicBezTo>
                    <a:pt x="960" y="864"/>
                    <a:pt x="960" y="864"/>
                    <a:pt x="960" y="864"/>
                  </a:cubicBezTo>
                  <a:cubicBezTo>
                    <a:pt x="768" y="864"/>
                    <a:pt x="768" y="864"/>
                    <a:pt x="768" y="864"/>
                  </a:cubicBezTo>
                  <a:cubicBezTo>
                    <a:pt x="768" y="1056"/>
                    <a:pt x="768" y="1056"/>
                    <a:pt x="768" y="1056"/>
                  </a:cubicBezTo>
                  <a:cubicBezTo>
                    <a:pt x="1152" y="1056"/>
                    <a:pt x="1152" y="1056"/>
                    <a:pt x="1152" y="1056"/>
                  </a:cubicBezTo>
                  <a:cubicBezTo>
                    <a:pt x="1152" y="864"/>
                    <a:pt x="1152" y="864"/>
                    <a:pt x="1152" y="864"/>
                  </a:cubicBezTo>
                  <a:cubicBezTo>
                    <a:pt x="1152" y="758"/>
                    <a:pt x="1066" y="672"/>
                    <a:pt x="960" y="6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AE645A1-EE23-47DE-939A-BAE869C883A2}"/>
                </a:ext>
              </a:extLst>
            </p:cNvPr>
            <p:cNvGrpSpPr/>
            <p:nvPr/>
          </p:nvGrpSpPr>
          <p:grpSpPr>
            <a:xfrm>
              <a:off x="5688383" y="3242226"/>
              <a:ext cx="923167" cy="845275"/>
              <a:chOff x="1921047" y="2009393"/>
              <a:chExt cx="3929255" cy="3597728"/>
            </a:xfrm>
          </p:grpSpPr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7847027-2466-417F-8D2E-B458B6A6EE37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5342F6E2-0129-4E69-B0A1-B9C9DFC4449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5EB6D4AE-B2FA-4F9F-9979-3A96198C642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4FB333DF-635D-4EEB-B413-F013FFD4D2A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8FC61F9D-93A8-4DDA-85EC-7C2BA2B5FB2E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9600E1BD-F3D7-4828-9E86-973C692B7225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C4CAD82-0BFE-454E-B096-BCF425EE56BE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2EF9E29F-18DF-4A55-9CAE-5A5813EBF6C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978EC795-04C6-4FE1-B6D8-3FA8D00E5A0C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C21D0693-AAB5-480A-AEB7-C65A7962AB10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E8E7244F-D6FE-4FDA-B9FA-E7027DC3A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B8FD78F2-D3AC-46A8-9A0C-6607C933B5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168EEA8-B543-435F-B0E5-C2E9DCC17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82905A6-6871-4974-B1E9-EC9485098B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9718F08-F67F-4C2A-88BE-87808141E8D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A0E5200-92E2-44B7-965C-9078BA7FF3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2756B57-16D5-45B4-AC4F-5B469ACE0C3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30E596C-7BEC-4493-AA09-8C9201FFE0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03EA054-6C86-46EB-AF91-AAA8222E47B9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31AE4768-6FCD-4700-8221-F1FE2D50F4D0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61A0072-67EB-4829-939F-A0955E0C3DBD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5C239F20-8E8E-4FC0-9365-75392A70F922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65B08FC5-455E-44B1-B730-C784253CAEE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4C0BF205-2DC5-457C-8CCB-E53985FE205F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E1BB34D3-558B-43B8-B465-B606810DEF88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1F275BAA-09C2-45BB-85A1-5EE5F65F84DF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01C13AD-D871-43D6-BC2B-195D844827F0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9696F2-A94C-46A1-8360-4A88E990951A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799850D-2475-4C9F-80F6-849C727E1A39}"/>
              </a:ext>
            </a:extLst>
          </p:cNvPr>
          <p:cNvGrpSpPr/>
          <p:nvPr/>
        </p:nvGrpSpPr>
        <p:grpSpPr>
          <a:xfrm>
            <a:off x="4260469" y="2621110"/>
            <a:ext cx="2594928" cy="2048480"/>
            <a:chOff x="8406580" y="618359"/>
            <a:chExt cx="1484672" cy="1172025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E04A01A4-6CFB-4E9A-9EC6-5A0941F4ECF3}"/>
                </a:ext>
              </a:extLst>
            </p:cNvPr>
            <p:cNvSpPr/>
            <p:nvPr/>
          </p:nvSpPr>
          <p:spPr>
            <a:xfrm>
              <a:off x="8406581" y="618359"/>
              <a:ext cx="1484671" cy="1172025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7D47CFCE-644A-45F0-B581-A2CFBF393FDD}"/>
                </a:ext>
              </a:extLst>
            </p:cNvPr>
            <p:cNvSpPr/>
            <p:nvPr/>
          </p:nvSpPr>
          <p:spPr>
            <a:xfrm>
              <a:off x="8406580" y="618359"/>
              <a:ext cx="1484671" cy="137946"/>
            </a:xfrm>
            <a:prstGeom prst="rect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E206087B-DB1E-418B-8F7F-761844FAD549}"/>
                </a:ext>
              </a:extLst>
            </p:cNvPr>
            <p:cNvGrpSpPr/>
            <p:nvPr/>
          </p:nvGrpSpPr>
          <p:grpSpPr>
            <a:xfrm>
              <a:off x="9734550" y="658772"/>
              <a:ext cx="90794" cy="66675"/>
              <a:chOff x="10358438" y="592532"/>
              <a:chExt cx="90794" cy="66675"/>
            </a:xfrm>
          </p:grpSpPr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610FE9B1-83A7-4096-A48A-B974AD5FF6B9}"/>
                  </a:ext>
                </a:extLst>
              </p:cNvPr>
              <p:cNvCxnSpPr/>
              <p:nvPr/>
            </p:nvCxnSpPr>
            <p:spPr>
              <a:xfrm>
                <a:off x="10358438" y="592532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BF640EF-5B4B-41E6-A5A0-737A4AB32297}"/>
                  </a:ext>
                </a:extLst>
              </p:cNvPr>
              <p:cNvCxnSpPr/>
              <p:nvPr/>
            </p:nvCxnSpPr>
            <p:spPr>
              <a:xfrm>
                <a:off x="10358438" y="625870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342765F2-074E-47DB-93A5-6032B7499A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58438" y="659207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</p:grpSp>
      <p:sp>
        <p:nvSpPr>
          <p:cNvPr id="12" name="Freeform 77">
            <a:extLst>
              <a:ext uri="{FF2B5EF4-FFF2-40B4-BE49-F238E27FC236}">
                <a16:creationId xmlns:a16="http://schemas.microsoft.com/office/drawing/2014/main" id="{F19A2AD3-A21D-4A43-BC27-52921F5E736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03043" y="2805567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77">
            <a:extLst>
              <a:ext uri="{FF2B5EF4-FFF2-40B4-BE49-F238E27FC236}">
                <a16:creationId xmlns:a16="http://schemas.microsoft.com/office/drawing/2014/main" id="{9B00FB08-BBF1-4114-9E7E-0CC834778B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2481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77">
            <a:extLst>
              <a:ext uri="{FF2B5EF4-FFF2-40B4-BE49-F238E27FC236}">
                <a16:creationId xmlns:a16="http://schemas.microsoft.com/office/drawing/2014/main" id="{0AE10DD0-D9DE-4009-A18E-B076345C3D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933605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 69">
            <a:extLst>
              <a:ext uri="{FF2B5EF4-FFF2-40B4-BE49-F238E27FC236}">
                <a16:creationId xmlns:a16="http://schemas.microsoft.com/office/drawing/2014/main" id="{CED6CE00-8625-498D-8E34-D517723337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64167" y="2805568"/>
            <a:ext cx="333537" cy="363664"/>
          </a:xfrm>
          <a:custGeom>
            <a:avLst/>
            <a:gdLst>
              <a:gd name="T0" fmla="*/ 672 w 1056"/>
              <a:gd name="T1" fmla="*/ 864 h 1152"/>
              <a:gd name="T2" fmla="*/ 576 w 1056"/>
              <a:gd name="T3" fmla="*/ 960 h 1152"/>
              <a:gd name="T4" fmla="*/ 480 w 1056"/>
              <a:gd name="T5" fmla="*/ 960 h 1152"/>
              <a:gd name="T6" fmla="*/ 384 w 1056"/>
              <a:gd name="T7" fmla="*/ 864 h 1152"/>
              <a:gd name="T8" fmla="*/ 480 w 1056"/>
              <a:gd name="T9" fmla="*/ 768 h 1152"/>
              <a:gd name="T10" fmla="*/ 576 w 1056"/>
              <a:gd name="T11" fmla="*/ 768 h 1152"/>
              <a:gd name="T12" fmla="*/ 672 w 1056"/>
              <a:gd name="T13" fmla="*/ 864 h 1152"/>
              <a:gd name="T14" fmla="*/ 960 w 1056"/>
              <a:gd name="T15" fmla="*/ 144 h 1152"/>
              <a:gd name="T16" fmla="*/ 816 w 1056"/>
              <a:gd name="T17" fmla="*/ 0 h 1152"/>
              <a:gd name="T18" fmla="*/ 672 w 1056"/>
              <a:gd name="T19" fmla="*/ 144 h 1152"/>
              <a:gd name="T20" fmla="*/ 816 w 1056"/>
              <a:gd name="T21" fmla="*/ 288 h 1152"/>
              <a:gd name="T22" fmla="*/ 960 w 1056"/>
              <a:gd name="T23" fmla="*/ 144 h 1152"/>
              <a:gd name="T24" fmla="*/ 1056 w 1056"/>
              <a:gd name="T25" fmla="*/ 864 h 1152"/>
              <a:gd name="T26" fmla="*/ 960 w 1056"/>
              <a:gd name="T27" fmla="*/ 864 h 1152"/>
              <a:gd name="T28" fmla="*/ 960 w 1056"/>
              <a:gd name="T29" fmla="*/ 1152 h 1152"/>
              <a:gd name="T30" fmla="*/ 96 w 1056"/>
              <a:gd name="T31" fmla="*/ 1152 h 1152"/>
              <a:gd name="T32" fmla="*/ 96 w 1056"/>
              <a:gd name="T33" fmla="*/ 864 h 1152"/>
              <a:gd name="T34" fmla="*/ 0 w 1056"/>
              <a:gd name="T35" fmla="*/ 864 h 1152"/>
              <a:gd name="T36" fmla="*/ 0 w 1056"/>
              <a:gd name="T37" fmla="*/ 528 h 1152"/>
              <a:gd name="T38" fmla="*/ 240 w 1056"/>
              <a:gd name="T39" fmla="*/ 288 h 1152"/>
              <a:gd name="T40" fmla="*/ 480 w 1056"/>
              <a:gd name="T41" fmla="*/ 528 h 1152"/>
              <a:gd name="T42" fmla="*/ 480 w 1056"/>
              <a:gd name="T43" fmla="*/ 576 h 1152"/>
              <a:gd name="T44" fmla="*/ 576 w 1056"/>
              <a:gd name="T45" fmla="*/ 576 h 1152"/>
              <a:gd name="T46" fmla="*/ 576 w 1056"/>
              <a:gd name="T47" fmla="*/ 528 h 1152"/>
              <a:gd name="T48" fmla="*/ 816 w 1056"/>
              <a:gd name="T49" fmla="*/ 288 h 1152"/>
              <a:gd name="T50" fmla="*/ 1056 w 1056"/>
              <a:gd name="T51" fmla="*/ 528 h 1152"/>
              <a:gd name="T52" fmla="*/ 1056 w 1056"/>
              <a:gd name="T53" fmla="*/ 864 h 1152"/>
              <a:gd name="T54" fmla="*/ 864 w 1056"/>
              <a:gd name="T55" fmla="*/ 768 h 1152"/>
              <a:gd name="T56" fmla="*/ 768 w 1056"/>
              <a:gd name="T57" fmla="*/ 672 h 1152"/>
              <a:gd name="T58" fmla="*/ 288 w 1056"/>
              <a:gd name="T59" fmla="*/ 672 h 1152"/>
              <a:gd name="T60" fmla="*/ 192 w 1056"/>
              <a:gd name="T61" fmla="*/ 768 h 1152"/>
              <a:gd name="T62" fmla="*/ 192 w 1056"/>
              <a:gd name="T63" fmla="*/ 960 h 1152"/>
              <a:gd name="T64" fmla="*/ 288 w 1056"/>
              <a:gd name="T65" fmla="*/ 1056 h 1152"/>
              <a:gd name="T66" fmla="*/ 768 w 1056"/>
              <a:gd name="T67" fmla="*/ 1056 h 1152"/>
              <a:gd name="T68" fmla="*/ 864 w 1056"/>
              <a:gd name="T69" fmla="*/ 960 h 1152"/>
              <a:gd name="T70" fmla="*/ 864 w 1056"/>
              <a:gd name="T71" fmla="*/ 768 h 1152"/>
              <a:gd name="T72" fmla="*/ 384 w 1056"/>
              <a:gd name="T73" fmla="*/ 144 h 1152"/>
              <a:gd name="T74" fmla="*/ 240 w 1056"/>
              <a:gd name="T75" fmla="*/ 0 h 1152"/>
              <a:gd name="T76" fmla="*/ 96 w 1056"/>
              <a:gd name="T77" fmla="*/ 144 h 1152"/>
              <a:gd name="T78" fmla="*/ 240 w 1056"/>
              <a:gd name="T79" fmla="*/ 288 h 1152"/>
              <a:gd name="T80" fmla="*/ 384 w 1056"/>
              <a:gd name="T81" fmla="*/ 144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056" h="1152">
                <a:moveTo>
                  <a:pt x="672" y="864"/>
                </a:moveTo>
                <a:cubicBezTo>
                  <a:pt x="672" y="917"/>
                  <a:pt x="629" y="960"/>
                  <a:pt x="576" y="960"/>
                </a:cubicBezTo>
                <a:cubicBezTo>
                  <a:pt x="480" y="960"/>
                  <a:pt x="480" y="960"/>
                  <a:pt x="480" y="960"/>
                </a:cubicBezTo>
                <a:cubicBezTo>
                  <a:pt x="427" y="960"/>
                  <a:pt x="384" y="917"/>
                  <a:pt x="384" y="864"/>
                </a:cubicBezTo>
                <a:cubicBezTo>
                  <a:pt x="384" y="811"/>
                  <a:pt x="427" y="768"/>
                  <a:pt x="480" y="768"/>
                </a:cubicBezTo>
                <a:cubicBezTo>
                  <a:pt x="576" y="768"/>
                  <a:pt x="576" y="768"/>
                  <a:pt x="576" y="768"/>
                </a:cubicBezTo>
                <a:cubicBezTo>
                  <a:pt x="629" y="768"/>
                  <a:pt x="672" y="811"/>
                  <a:pt x="672" y="864"/>
                </a:cubicBezTo>
                <a:close/>
                <a:moveTo>
                  <a:pt x="960" y="144"/>
                </a:moveTo>
                <a:cubicBezTo>
                  <a:pt x="960" y="64"/>
                  <a:pt x="896" y="0"/>
                  <a:pt x="816" y="0"/>
                </a:cubicBezTo>
                <a:cubicBezTo>
                  <a:pt x="736" y="0"/>
                  <a:pt x="672" y="64"/>
                  <a:pt x="672" y="144"/>
                </a:cubicBezTo>
                <a:cubicBezTo>
                  <a:pt x="672" y="224"/>
                  <a:pt x="736" y="288"/>
                  <a:pt x="816" y="288"/>
                </a:cubicBezTo>
                <a:cubicBezTo>
                  <a:pt x="896" y="288"/>
                  <a:pt x="960" y="224"/>
                  <a:pt x="960" y="144"/>
                </a:cubicBezTo>
                <a:close/>
                <a:moveTo>
                  <a:pt x="1056" y="864"/>
                </a:moveTo>
                <a:cubicBezTo>
                  <a:pt x="960" y="864"/>
                  <a:pt x="960" y="864"/>
                  <a:pt x="960" y="864"/>
                </a:cubicBezTo>
                <a:cubicBezTo>
                  <a:pt x="960" y="1152"/>
                  <a:pt x="960" y="1152"/>
                  <a:pt x="960" y="1152"/>
                </a:cubicBezTo>
                <a:cubicBezTo>
                  <a:pt x="96" y="1152"/>
                  <a:pt x="96" y="1152"/>
                  <a:pt x="96" y="1152"/>
                </a:cubicBezTo>
                <a:cubicBezTo>
                  <a:pt x="96" y="864"/>
                  <a:pt x="96" y="864"/>
                  <a:pt x="96" y="864"/>
                </a:cubicBezTo>
                <a:cubicBezTo>
                  <a:pt x="0" y="864"/>
                  <a:pt x="0" y="864"/>
                  <a:pt x="0" y="864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395"/>
                  <a:pt x="107" y="288"/>
                  <a:pt x="240" y="288"/>
                </a:cubicBezTo>
                <a:cubicBezTo>
                  <a:pt x="373" y="288"/>
                  <a:pt x="480" y="395"/>
                  <a:pt x="480" y="528"/>
                </a:cubicBezTo>
                <a:cubicBezTo>
                  <a:pt x="480" y="576"/>
                  <a:pt x="480" y="576"/>
                  <a:pt x="48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28"/>
                  <a:pt x="576" y="528"/>
                  <a:pt x="576" y="528"/>
                </a:cubicBezTo>
                <a:cubicBezTo>
                  <a:pt x="576" y="395"/>
                  <a:pt x="683" y="288"/>
                  <a:pt x="816" y="288"/>
                </a:cubicBezTo>
                <a:cubicBezTo>
                  <a:pt x="949" y="288"/>
                  <a:pt x="1056" y="395"/>
                  <a:pt x="1056" y="528"/>
                </a:cubicBezTo>
                <a:lnTo>
                  <a:pt x="1056" y="864"/>
                </a:lnTo>
                <a:close/>
                <a:moveTo>
                  <a:pt x="864" y="768"/>
                </a:moveTo>
                <a:cubicBezTo>
                  <a:pt x="811" y="768"/>
                  <a:pt x="768" y="725"/>
                  <a:pt x="768" y="672"/>
                </a:cubicBezTo>
                <a:cubicBezTo>
                  <a:pt x="288" y="672"/>
                  <a:pt x="288" y="672"/>
                  <a:pt x="288" y="672"/>
                </a:cubicBezTo>
                <a:cubicBezTo>
                  <a:pt x="288" y="725"/>
                  <a:pt x="245" y="768"/>
                  <a:pt x="192" y="768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45" y="960"/>
                  <a:pt x="288" y="1003"/>
                  <a:pt x="288" y="1056"/>
                </a:cubicBezTo>
                <a:cubicBezTo>
                  <a:pt x="768" y="1056"/>
                  <a:pt x="768" y="1056"/>
                  <a:pt x="768" y="1056"/>
                </a:cubicBezTo>
                <a:cubicBezTo>
                  <a:pt x="768" y="1003"/>
                  <a:pt x="811" y="960"/>
                  <a:pt x="864" y="960"/>
                </a:cubicBezTo>
                <a:lnTo>
                  <a:pt x="864" y="768"/>
                </a:lnTo>
                <a:close/>
                <a:moveTo>
                  <a:pt x="384" y="144"/>
                </a:moveTo>
                <a:cubicBezTo>
                  <a:pt x="384" y="64"/>
                  <a:pt x="320" y="0"/>
                  <a:pt x="240" y="0"/>
                </a:cubicBezTo>
                <a:cubicBezTo>
                  <a:pt x="160" y="0"/>
                  <a:pt x="96" y="64"/>
                  <a:pt x="96" y="144"/>
                </a:cubicBezTo>
                <a:cubicBezTo>
                  <a:pt x="96" y="224"/>
                  <a:pt x="160" y="288"/>
                  <a:pt x="240" y="288"/>
                </a:cubicBezTo>
                <a:cubicBezTo>
                  <a:pt x="320" y="288"/>
                  <a:pt x="384" y="224"/>
                  <a:pt x="384" y="144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reeform 61">
            <a:extLst>
              <a:ext uri="{FF2B5EF4-FFF2-40B4-BE49-F238E27FC236}">
                <a16:creationId xmlns:a16="http://schemas.microsoft.com/office/drawing/2014/main" id="{D504A412-814D-4426-AF6A-B0EA7906BA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28314" y="2805568"/>
            <a:ext cx="363664" cy="363664"/>
          </a:xfrm>
          <a:custGeom>
            <a:avLst/>
            <a:gdLst>
              <a:gd name="T0" fmla="*/ 1152 w 1152"/>
              <a:gd name="T1" fmla="*/ 1152 h 1152"/>
              <a:gd name="T2" fmla="*/ 0 w 1152"/>
              <a:gd name="T3" fmla="*/ 1152 h 1152"/>
              <a:gd name="T4" fmla="*/ 0 w 1152"/>
              <a:gd name="T5" fmla="*/ 0 h 1152"/>
              <a:gd name="T6" fmla="*/ 192 w 1152"/>
              <a:gd name="T7" fmla="*/ 192 h 1152"/>
              <a:gd name="T8" fmla="*/ 96 w 1152"/>
              <a:gd name="T9" fmla="*/ 192 h 1152"/>
              <a:gd name="T10" fmla="*/ 96 w 1152"/>
              <a:gd name="T11" fmla="*/ 1056 h 1152"/>
              <a:gd name="T12" fmla="*/ 960 w 1152"/>
              <a:gd name="T13" fmla="*/ 1056 h 1152"/>
              <a:gd name="T14" fmla="*/ 960 w 1152"/>
              <a:gd name="T15" fmla="*/ 960 h 1152"/>
              <a:gd name="T16" fmla="*/ 1152 w 1152"/>
              <a:gd name="T17" fmla="*/ 1152 h 1152"/>
              <a:gd name="T18" fmla="*/ 1056 w 1152"/>
              <a:gd name="T19" fmla="*/ 192 h 1152"/>
              <a:gd name="T20" fmla="*/ 960 w 1152"/>
              <a:gd name="T21" fmla="*/ 192 h 1152"/>
              <a:gd name="T22" fmla="*/ 288 w 1152"/>
              <a:gd name="T23" fmla="*/ 864 h 1152"/>
              <a:gd name="T24" fmla="*/ 192 w 1152"/>
              <a:gd name="T25" fmla="*/ 864 h 1152"/>
              <a:gd name="T26" fmla="*/ 192 w 1152"/>
              <a:gd name="T27" fmla="*/ 960 h 1152"/>
              <a:gd name="T28" fmla="*/ 288 w 1152"/>
              <a:gd name="T29" fmla="*/ 960 h 1152"/>
              <a:gd name="T30" fmla="*/ 1056 w 1152"/>
              <a:gd name="T31" fmla="*/ 19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52" h="1152">
                <a:moveTo>
                  <a:pt x="1152" y="1152"/>
                </a:moveTo>
                <a:cubicBezTo>
                  <a:pt x="0" y="1152"/>
                  <a:pt x="0" y="1152"/>
                  <a:pt x="0" y="1152"/>
                </a:cubicBezTo>
                <a:cubicBezTo>
                  <a:pt x="0" y="0"/>
                  <a:pt x="0" y="0"/>
                  <a:pt x="0" y="0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0" y="1056"/>
                  <a:pt x="960" y="1056"/>
                  <a:pt x="960" y="1056"/>
                </a:cubicBezTo>
                <a:cubicBezTo>
                  <a:pt x="960" y="960"/>
                  <a:pt x="960" y="960"/>
                  <a:pt x="960" y="960"/>
                </a:cubicBezTo>
                <a:lnTo>
                  <a:pt x="1152" y="1152"/>
                </a:lnTo>
                <a:close/>
                <a:moveTo>
                  <a:pt x="1056" y="192"/>
                </a:moveTo>
                <a:cubicBezTo>
                  <a:pt x="960" y="192"/>
                  <a:pt x="960" y="192"/>
                  <a:pt x="960" y="192"/>
                </a:cubicBezTo>
                <a:cubicBezTo>
                  <a:pt x="960" y="563"/>
                  <a:pt x="659" y="864"/>
                  <a:pt x="288" y="864"/>
                </a:cubicBezTo>
                <a:cubicBezTo>
                  <a:pt x="192" y="864"/>
                  <a:pt x="192" y="864"/>
                  <a:pt x="192" y="864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88" y="960"/>
                  <a:pt x="288" y="960"/>
                  <a:pt x="288" y="960"/>
                </a:cubicBezTo>
                <a:cubicBezTo>
                  <a:pt x="712" y="960"/>
                  <a:pt x="1056" y="615"/>
                  <a:pt x="1056" y="19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A7AA29C7-56C9-4D5C-83A6-DBE85B2B26E2}"/>
              </a:ext>
            </a:extLst>
          </p:cNvPr>
          <p:cNvGrpSpPr/>
          <p:nvPr/>
        </p:nvGrpSpPr>
        <p:grpSpPr>
          <a:xfrm>
            <a:off x="1457823" y="3538326"/>
            <a:ext cx="1248813" cy="985834"/>
            <a:chOff x="1568852" y="3538326"/>
            <a:chExt cx="1248813" cy="985834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74E9099C-4371-415D-8C42-123E40D4DA99}"/>
                </a:ext>
              </a:extLst>
            </p:cNvPr>
            <p:cNvGrpSpPr/>
            <p:nvPr/>
          </p:nvGrpSpPr>
          <p:grpSpPr>
            <a:xfrm>
              <a:off x="1568852" y="3538326"/>
              <a:ext cx="1248813" cy="985834"/>
              <a:chOff x="8406580" y="618359"/>
              <a:chExt cx="1484672" cy="1172025"/>
            </a:xfrm>
          </p:grpSpPr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6ECF6875-5F46-47C4-A051-D0DB3222535B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2B504600-B3B7-43FF-B9D5-FCF3071B8CCD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241964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58759837-2474-4CE2-8F80-9A7ACF80A9C5}"/>
                  </a:ext>
                </a:extLst>
              </p:cNvPr>
              <p:cNvGrpSpPr/>
              <p:nvPr/>
            </p:nvGrpSpPr>
            <p:grpSpPr>
              <a:xfrm>
                <a:off x="9734550" y="706003"/>
                <a:ext cx="90794" cy="66676"/>
                <a:chOff x="10358438" y="639763"/>
                <a:chExt cx="90794" cy="66676"/>
              </a:xfrm>
            </p:grpSpPr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08A1270B-B568-4D9C-86C0-1F26252407F7}"/>
                    </a:ext>
                  </a:extLst>
                </p:cNvPr>
                <p:cNvCxnSpPr/>
                <p:nvPr/>
              </p:nvCxnSpPr>
              <p:spPr>
                <a:xfrm>
                  <a:off x="10358438" y="639763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3" name="Straight Connector 122">
                  <a:extLst>
                    <a:ext uri="{FF2B5EF4-FFF2-40B4-BE49-F238E27FC236}">
                      <a16:creationId xmlns:a16="http://schemas.microsoft.com/office/drawing/2014/main" id="{50141450-4285-4989-85FE-AB014A085F22}"/>
                    </a:ext>
                  </a:extLst>
                </p:cNvPr>
                <p:cNvCxnSpPr/>
                <p:nvPr/>
              </p:nvCxnSpPr>
              <p:spPr>
                <a:xfrm>
                  <a:off x="10358438" y="673101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DF2C955D-8424-480F-82F8-BD19437A3F57}"/>
                    </a:ext>
                  </a:extLst>
                </p:cNvPr>
                <p:cNvCxnSpPr/>
                <p:nvPr/>
              </p:nvCxnSpPr>
              <p:spPr>
                <a:xfrm>
                  <a:off x="10358438" y="706439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146AE8E7-FCCC-4E9D-BDD9-EE9D1BF2EC0C}"/>
                </a:ext>
              </a:extLst>
            </p:cNvPr>
            <p:cNvGrpSpPr/>
            <p:nvPr/>
          </p:nvGrpSpPr>
          <p:grpSpPr>
            <a:xfrm>
              <a:off x="1868561" y="3820587"/>
              <a:ext cx="641566" cy="587434"/>
              <a:chOff x="1921047" y="2009393"/>
              <a:chExt cx="3929255" cy="3597728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C8C0CFE-B6CA-4588-83DA-625595B9A78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61EF558-59CF-4C00-9271-BEE057A8A78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866FC4D4-9223-4017-9422-3D14D9ED3AA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CD8A835-CFB7-479D-B013-5785E8861464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CD42599-2188-4963-B681-34BD02B31506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76398F13-F656-41FC-A9D4-283CE237F976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E5F5101-9BC1-4CB3-9D1A-1E56BC524505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0DEABF93-C3A4-4A2F-8B14-5AA3E442CB6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C0FE6CE3-8E61-4AF0-AE77-3465BAD4A647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AF4E059C-1A3A-4DBB-B769-3CEAF796C9DB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ED7D99F6-8D9B-4BE9-A1F4-F72FB8F7DE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867D6DED-CD16-4993-AC41-5804F1D3E4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81F77AA9-FB9B-4CED-AC77-C5BB83371D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77D04B6A-81C8-4A44-B268-3843B25BB9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0DBF58E4-18EB-40DF-A536-7933BCD4D8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4F154AFF-3A29-4C8E-ABA3-F10A1D8FA0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41D2B052-1F59-4BEB-817F-6AFA1D86BBF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3082D8D1-2E65-4DDB-A018-E18E2824768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E3628013-9307-43DC-9D97-D17099EF5FB4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92A87960-11BE-426B-BE7A-8F199EB7D59C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3F6D7AF-4CAF-4B9C-8021-FA7A828ECC18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C460ED01-6C38-4A64-BE90-2A962F52D3AC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AFC0A740-B4CC-4892-8951-E167F25FE31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D26FBB2-2E6A-4AF6-81F8-8F3CD751B32C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C8817A73-AF00-4958-8382-0C9BC2597B4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A2E4413-2C7C-41C4-8D38-EF82FCE13877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589D2B0-EA81-4995-9D8A-F357037D0B9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4238E746-4DD7-4406-873B-84EF8C100152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sp>
        <p:nvSpPr>
          <p:cNvPr id="136" name="Shape 135">
            <a:extLst>
              <a:ext uri="{FF2B5EF4-FFF2-40B4-BE49-F238E27FC236}">
                <a16:creationId xmlns:a16="http://schemas.microsoft.com/office/drawing/2014/main" id="{DDD3EE56-BD40-46DB-9011-1531902B9AB0}"/>
              </a:ext>
            </a:extLst>
          </p:cNvPr>
          <p:cNvSpPr/>
          <p:nvPr/>
        </p:nvSpPr>
        <p:spPr>
          <a:xfrm rot="10800000">
            <a:off x="2304310" y="3246160"/>
            <a:ext cx="806344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7" name="Shape 136">
            <a:extLst>
              <a:ext uri="{FF2B5EF4-FFF2-40B4-BE49-F238E27FC236}">
                <a16:creationId xmlns:a16="http://schemas.microsoft.com/office/drawing/2014/main" id="{26602F21-3A44-423B-8E48-FD73A25470FC}"/>
              </a:ext>
            </a:extLst>
          </p:cNvPr>
          <p:cNvSpPr/>
          <p:nvPr/>
        </p:nvSpPr>
        <p:spPr>
          <a:xfrm rot="10800000" flipH="1">
            <a:off x="1034674" y="3246161"/>
            <a:ext cx="762858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47FBD109-B142-4ED8-805A-A55D42A6888D}"/>
              </a:ext>
            </a:extLst>
          </p:cNvPr>
          <p:cNvSpPr txBox="1"/>
          <p:nvPr/>
        </p:nvSpPr>
        <p:spPr>
          <a:xfrm>
            <a:off x="11007461" y="5097189"/>
            <a:ext cx="297425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s ideas to delivered solutions with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Accelerated Solution Development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12DD92D-ADD7-42F7-AB44-1204A3BD5EA0}"/>
              </a:ext>
            </a:extLst>
          </p:cNvPr>
          <p:cNvGrpSpPr/>
          <p:nvPr/>
        </p:nvGrpSpPr>
        <p:grpSpPr>
          <a:xfrm>
            <a:off x="7750920" y="2621110"/>
            <a:ext cx="2594928" cy="2048480"/>
            <a:chOff x="7664639" y="2653099"/>
            <a:chExt cx="2594928" cy="2048480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6B142B0-CB7D-4394-8799-898CE101DC08}"/>
                </a:ext>
              </a:extLst>
            </p:cNvPr>
            <p:cNvGrpSpPr/>
            <p:nvPr/>
          </p:nvGrpSpPr>
          <p:grpSpPr>
            <a:xfrm>
              <a:off x="7664639" y="2653099"/>
              <a:ext cx="2594928" cy="2048480"/>
              <a:chOff x="8406580" y="618359"/>
              <a:chExt cx="1484672" cy="1172025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B29CDF55-FFFC-41E9-8272-D26CC524DAE7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59508D7D-085F-4E0F-B15B-A8FFD7D23B42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C3B16F19-96B6-4BAD-A6FC-01A430AAB0EF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290DD2F1-7126-46A8-A2BD-82D97B71FB0F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C5BCAF6A-BBA9-4572-AD12-BEC4ED979E5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F6F9A108-D5CF-49D3-8E21-7F31C646E0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0940BF8E-F5D2-4ED9-8A40-5CB594553C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40850" y="3081875"/>
              <a:ext cx="749302" cy="138847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660C21D3-2BA9-4B53-ACCF-FC8698569F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1700" y="3051181"/>
              <a:ext cx="1568450" cy="106361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7F73B7AC-0602-4F6B-9E54-98142CCA93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1950" y="3051181"/>
              <a:ext cx="2108200" cy="54516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BC16063B-DC7C-42B6-BBDB-410140D242DF}"/>
                </a:ext>
              </a:extLst>
            </p:cNvPr>
            <p:cNvSpPr/>
            <p:nvPr/>
          </p:nvSpPr>
          <p:spPr>
            <a:xfrm>
              <a:off x="8021462" y="3206289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8550B624-B951-46BD-88F7-6D4BD53F9DF2}"/>
                </a:ext>
              </a:extLst>
            </p:cNvPr>
            <p:cNvSpPr/>
            <p:nvPr/>
          </p:nvSpPr>
          <p:spPr>
            <a:xfrm>
              <a:off x="8872065" y="3567581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E0783B7C-47BD-4AB1-913D-558B0BC2CDBC}"/>
                </a:ext>
              </a:extLst>
            </p:cNvPr>
            <p:cNvSpPr/>
            <p:nvPr/>
          </p:nvSpPr>
          <p:spPr>
            <a:xfrm>
              <a:off x="9002785" y="4137805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D7BF9506-07EE-4E36-887D-49C969277AAF}"/>
                </a:ext>
              </a:extLst>
            </p:cNvPr>
            <p:cNvSpPr/>
            <p:nvPr/>
          </p:nvSpPr>
          <p:spPr>
            <a:xfrm>
              <a:off x="9841029" y="3631512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3E1AB52C-0A98-41A7-98CF-1769990D1B24}"/>
                </a:ext>
              </a:extLst>
            </p:cNvPr>
            <p:cNvSpPr/>
            <p:nvPr/>
          </p:nvSpPr>
          <p:spPr>
            <a:xfrm>
              <a:off x="8356258" y="3728111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4E089C8B-CEB1-48A0-BEDA-61BC1A729781}"/>
                </a:ext>
              </a:extLst>
            </p:cNvPr>
            <p:cNvSpPr/>
            <p:nvPr/>
          </p:nvSpPr>
          <p:spPr>
            <a:xfrm>
              <a:off x="8180604" y="330415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49E8A8C3-87E6-411A-828C-AB9642669DF3}"/>
                </a:ext>
              </a:extLst>
            </p:cNvPr>
            <p:cNvSpPr/>
            <p:nvPr/>
          </p:nvSpPr>
          <p:spPr>
            <a:xfrm>
              <a:off x="9552762" y="4332097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EF424A28-0CAF-49F9-AAEF-0AF333DD0629}"/>
                </a:ext>
              </a:extLst>
            </p:cNvPr>
            <p:cNvSpPr/>
            <p:nvPr/>
          </p:nvSpPr>
          <p:spPr>
            <a:xfrm>
              <a:off x="9386632" y="386418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B2A0ADE0-43D1-4EA1-8366-1FA478374000}"/>
                </a:ext>
              </a:extLst>
            </p:cNvPr>
            <p:cNvSpPr/>
            <p:nvPr/>
          </p:nvSpPr>
          <p:spPr>
            <a:xfrm>
              <a:off x="9042492" y="3081875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4" name="Arrow: Right 263">
            <a:extLst>
              <a:ext uri="{FF2B5EF4-FFF2-40B4-BE49-F238E27FC236}">
                <a16:creationId xmlns:a16="http://schemas.microsoft.com/office/drawing/2014/main" id="{334914C5-41C0-4FA0-A97E-26192E39F1FD}"/>
              </a:ext>
            </a:extLst>
          </p:cNvPr>
          <p:cNvSpPr/>
          <p:nvPr/>
        </p:nvSpPr>
        <p:spPr>
          <a:xfrm>
            <a:off x="440243" y="7085150"/>
            <a:ext cx="13749915" cy="465737"/>
          </a:xfrm>
          <a:prstGeom prst="rightArrow">
            <a:avLst>
              <a:gd name="adj1" fmla="val 100000"/>
              <a:gd name="adj2" fmla="val 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Trends</a:t>
            </a:r>
          </a:p>
        </p:txBody>
      </p:sp>
      <p:sp>
        <p:nvSpPr>
          <p:cNvPr id="140" name="Star: 32 Points 139">
            <a:extLst>
              <a:ext uri="{FF2B5EF4-FFF2-40B4-BE49-F238E27FC236}">
                <a16:creationId xmlns:a16="http://schemas.microsoft.com/office/drawing/2014/main" id="{F073A119-9E60-4E63-AEF1-5EE06F6B064A}"/>
              </a:ext>
            </a:extLst>
          </p:cNvPr>
          <p:cNvSpPr/>
          <p:nvPr/>
        </p:nvSpPr>
        <p:spPr>
          <a:xfrm>
            <a:off x="152006" y="665006"/>
            <a:ext cx="1292637" cy="1292637"/>
          </a:xfrm>
          <a:prstGeom prst="star32">
            <a:avLst>
              <a:gd name="adj" fmla="val 46086"/>
            </a:avLst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available toda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F31911A-83B4-47D8-BD32-750CDD1DEEA2}"/>
              </a:ext>
            </a:extLst>
          </p:cNvPr>
          <p:cNvGrpSpPr/>
          <p:nvPr/>
        </p:nvGrpSpPr>
        <p:grpSpPr>
          <a:xfrm>
            <a:off x="11197126" y="2621110"/>
            <a:ext cx="2594928" cy="2048480"/>
            <a:chOff x="11191115" y="2601598"/>
            <a:chExt cx="2594928" cy="204848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129AF97-C5F7-4741-94E4-F5BEC3265520}"/>
                </a:ext>
              </a:extLst>
            </p:cNvPr>
            <p:cNvGrpSpPr/>
            <p:nvPr/>
          </p:nvGrpSpPr>
          <p:grpSpPr>
            <a:xfrm>
              <a:off x="11328047" y="2973199"/>
              <a:ext cx="2340367" cy="1565932"/>
              <a:chOff x="10885764" y="2571783"/>
              <a:chExt cx="2995585" cy="2004336"/>
            </a:xfrm>
          </p:grpSpPr>
          <p:sp>
            <p:nvSpPr>
              <p:cNvPr id="184" name="Isosceles Triangle 183">
                <a:extLst>
                  <a:ext uri="{FF2B5EF4-FFF2-40B4-BE49-F238E27FC236}">
                    <a16:creationId xmlns:a16="http://schemas.microsoft.com/office/drawing/2014/main" id="{FADA2441-FEE5-4D7A-82CF-2FB069D33D73}"/>
                  </a:ext>
                </a:extLst>
              </p:cNvPr>
              <p:cNvSpPr/>
              <p:nvPr/>
            </p:nvSpPr>
            <p:spPr>
              <a:xfrm>
                <a:off x="10920611" y="2608649"/>
                <a:ext cx="2960738" cy="1725097"/>
              </a:xfrm>
              <a:prstGeom prst="triangle">
                <a:avLst>
                  <a:gd name="adj" fmla="val 10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58AF0FA5-122F-4BB0-8A94-397F4EDAB231}"/>
                  </a:ext>
                </a:extLst>
              </p:cNvPr>
              <p:cNvSpPr txBox="1"/>
              <p:nvPr/>
            </p:nvSpPr>
            <p:spPr>
              <a:xfrm>
                <a:off x="10885764" y="4345287"/>
                <a:ext cx="402674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945C1350-992D-4B9D-87F3-6A6C71A679D0}"/>
                  </a:ext>
                </a:extLst>
              </p:cNvPr>
              <p:cNvSpPr txBox="1"/>
              <p:nvPr/>
            </p:nvSpPr>
            <p:spPr>
              <a:xfrm>
                <a:off x="11428564" y="4345287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cept</a:t>
                </a: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C62F9CE7-8AAC-48DA-8EC1-072792D07D7B}"/>
                  </a:ext>
                </a:extLst>
              </p:cNvPr>
              <p:cNvSpPr txBox="1"/>
              <p:nvPr/>
            </p:nvSpPr>
            <p:spPr>
              <a:xfrm>
                <a:off x="12281270" y="4345287"/>
                <a:ext cx="678391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totype</a:t>
                </a:r>
              </a:p>
            </p:txBody>
          </p:sp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209AAB19-82A1-4568-8756-4CCC6678018D}"/>
                  </a:ext>
                </a:extLst>
              </p:cNvPr>
              <p:cNvSpPr txBox="1"/>
              <p:nvPr/>
            </p:nvSpPr>
            <p:spPr>
              <a:xfrm>
                <a:off x="13048583" y="4345287"/>
                <a:ext cx="736099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ction</a:t>
                </a: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0D769C41-0E89-4F8F-A672-807C3EBFDC21}"/>
                  </a:ext>
                </a:extLst>
              </p:cNvPr>
              <p:cNvSpPr/>
              <p:nvPr/>
            </p:nvSpPr>
            <p:spPr>
              <a:xfrm>
                <a:off x="11517858" y="3797231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6695714-7248-426F-8420-60E3A951A0C7}"/>
                  </a:ext>
                </a:extLst>
              </p:cNvPr>
              <p:cNvSpPr/>
              <p:nvPr/>
            </p:nvSpPr>
            <p:spPr>
              <a:xfrm>
                <a:off x="11412902" y="3568062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CB017B5A-478A-40EA-BC34-41C1BEEE5185}"/>
                  </a:ext>
                </a:extLst>
              </p:cNvPr>
              <p:cNvSpPr/>
              <p:nvPr/>
            </p:nvSpPr>
            <p:spPr>
              <a:xfrm>
                <a:off x="12418087" y="3181899"/>
                <a:ext cx="319577" cy="31957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C3DBADB6-CD2C-4143-8920-3C5D9E4F87C1}"/>
                  </a:ext>
                </a:extLst>
              </p:cNvPr>
              <p:cNvSpPr/>
              <p:nvPr/>
            </p:nvSpPr>
            <p:spPr>
              <a:xfrm>
                <a:off x="13184688" y="2571783"/>
                <a:ext cx="463887" cy="46388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622D600D-364A-48AA-8461-985677860C5D}"/>
                  </a:ext>
                </a:extLst>
              </p:cNvPr>
              <p:cNvSpPr/>
              <p:nvPr/>
            </p:nvSpPr>
            <p:spPr>
              <a:xfrm>
                <a:off x="11612899" y="3596350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C1DABF02-CD20-42E1-B3DC-C643B7F16688}"/>
                  </a:ext>
                </a:extLst>
              </p:cNvPr>
              <p:cNvSpPr/>
              <p:nvPr/>
            </p:nvSpPr>
            <p:spPr>
              <a:xfrm>
                <a:off x="12249140" y="3353202"/>
                <a:ext cx="261148" cy="261148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BEDD7B7E-58E7-431A-8BD9-7C996DFFA583}"/>
                  </a:ext>
                </a:extLst>
              </p:cNvPr>
              <p:cNvSpPr/>
              <p:nvPr/>
            </p:nvSpPr>
            <p:spPr>
              <a:xfrm>
                <a:off x="10887342" y="4191096"/>
                <a:ext cx="141001" cy="141001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D201924C-7A4B-4F21-8C00-B3A67F4AE38A}"/>
                </a:ext>
              </a:extLst>
            </p:cNvPr>
            <p:cNvGrpSpPr/>
            <p:nvPr/>
          </p:nvGrpSpPr>
          <p:grpSpPr>
            <a:xfrm>
              <a:off x="11191115" y="2601598"/>
              <a:ext cx="2594928" cy="2048480"/>
              <a:chOff x="8406580" y="618359"/>
              <a:chExt cx="1484672" cy="1172025"/>
            </a:xfrm>
          </p:grpSpPr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7AA14C91-9E4C-4288-BD92-080B012824CF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CA511003-AAB9-4B11-91C1-A476991EC7C7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E4E430EE-6748-48AF-B04F-6D6D7971D0FD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211" name="Straight Connector 210">
                  <a:extLst>
                    <a:ext uri="{FF2B5EF4-FFF2-40B4-BE49-F238E27FC236}">
                      <a16:creationId xmlns:a16="http://schemas.microsoft.com/office/drawing/2014/main" id="{5D1194AA-5C54-4F99-B515-1D8603D7AC66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1" name="Straight Connector 240">
                  <a:extLst>
                    <a:ext uri="{FF2B5EF4-FFF2-40B4-BE49-F238E27FC236}">
                      <a16:creationId xmlns:a16="http://schemas.microsoft.com/office/drawing/2014/main" id="{F7E9C9A5-8E45-421A-9C26-BCE47F90174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2" name="Straight Connector 241">
                  <a:extLst>
                    <a:ext uri="{FF2B5EF4-FFF2-40B4-BE49-F238E27FC236}">
                      <a16:creationId xmlns:a16="http://schemas.microsoft.com/office/drawing/2014/main" id="{0CE3476C-D23E-42A4-80B3-AD41F0C582D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E2457F9B-52A9-44E2-8114-911B7D2D5667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0FBCF8CE-153A-4074-94BA-41BB0F08CCE0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F3D248AF-81D1-418C-B122-B47F0746C2DD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F1F27528-7C3C-4485-AB66-E185A5EFE0F4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A6DD9983-9235-412C-B04B-2DFD140B81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AAFF3BF8-7907-4174-8D03-5678C0927B2D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3FDC761D-5B75-4AAB-8B85-D1AEBBAFCBAF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61A9A2BB-EBF1-463C-9B55-1CE04AEE34A8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12D33A4-4D07-4040-B8D1-9823C3F5096F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10B06A2C-8C75-43F5-9797-859DDE104863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EBF7E012-CD9E-4F2C-B026-72EF163336CF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1498D23D-82BC-4BB7-A6D9-39AF09A33F7E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971F778E-3CF6-4582-B960-DD88659F26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21E4D6E7-8D74-4296-B4E9-029BAF4E8E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7C52A45A-6DCC-4D1A-B878-AE6F7635821F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30574FD7-CE47-4907-A603-B9E8AB60CE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7F840802-F695-4385-A8A5-FEFEF5C3D6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6F6E5C85-BDBB-48C7-8C74-76910AE3623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4D016F14-7B95-40C2-8642-5D4BABF59EB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2EAA9CE9-6A1C-46C5-8D66-FA1F32F0E7B2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31EEE3C7-B727-4404-BCDB-95C3C647549F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D2C789F5-157F-4C95-9E6C-518A611D2ACE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44622234-61C3-4537-A100-C6BB27964FEE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185291E8-DAE0-4929-8DAE-D7E2BAEA5A98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ACE459D8-9EB4-47AA-8812-7A46729592BF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E0B0AF30-2C34-444B-AB8E-38AF4648232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0AA21803-A4BB-45FC-9A02-168A474A91C1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A5CD3472-E7BF-4981-A939-4E316E15EE1B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3E64F8F5-D7A4-40E8-AC55-74D1CEF8C919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6324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1_DXC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D9D9D9"/>
      </a:accent3>
      <a:accent4>
        <a:srgbClr val="FFED00"/>
      </a:accent4>
      <a:accent5>
        <a:srgbClr val="64FF00"/>
      </a:accent5>
      <a:accent6>
        <a:srgbClr val="00C9FF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ptimized Speaker Template - TechCom24 2019 - Copy.pptx" id="{3EE38018-928B-41CF-8B11-0FA06723AFDD}" vid="{24D7BD64-ADC4-486E-8977-DB4EB23E36E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647</TotalTime>
  <Words>1571</Words>
  <Application>Microsoft Office PowerPoint</Application>
  <PresentationFormat>Custom</PresentationFormat>
  <Paragraphs>345</Paragraphs>
  <Slides>25</Slides>
  <Notes>7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Metric Bold</vt:lpstr>
      <vt:lpstr>Metric Regular</vt:lpstr>
      <vt:lpstr>DXC</vt:lpstr>
      <vt:lpstr>6_HPE_Standard_Metric_16x9_v2</vt:lpstr>
      <vt:lpstr>1_DXC</vt:lpstr>
      <vt:lpstr>think-cell Slide</vt:lpstr>
      <vt:lpstr>DXC Digital Explorer</vt:lpstr>
      <vt:lpstr>About me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Client Goals to Outcomes with DXC Digital Explorer</vt:lpstr>
      <vt:lpstr>Demos</vt:lpstr>
      <vt:lpstr>What’s in it for us?</vt:lpstr>
      <vt:lpstr>Go Explore!</vt:lpstr>
      <vt:lpstr>Back-up slides 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3-28T16:28:07Z</dcterms:modified>
  <cp:category/>
</cp:coreProperties>
</file>